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4"/>
  </p:sldMasterIdLst>
  <p:notesMasterIdLst>
    <p:notesMasterId r:id="rId16"/>
  </p:notesMasterIdLst>
  <p:handoutMasterIdLst>
    <p:handoutMasterId r:id="rId17"/>
  </p:handoutMasterIdLst>
  <p:sldIdLst>
    <p:sldId id="436" r:id="rId5"/>
    <p:sldId id="446" r:id="rId6"/>
    <p:sldId id="525" r:id="rId7"/>
    <p:sldId id="527" r:id="rId8"/>
    <p:sldId id="529" r:id="rId9"/>
    <p:sldId id="532" r:id="rId10"/>
    <p:sldId id="530" r:id="rId11"/>
    <p:sldId id="531" r:id="rId12"/>
    <p:sldId id="533" r:id="rId13"/>
    <p:sldId id="535" r:id="rId14"/>
    <p:sldId id="536" r:id="rId15"/>
  </p:sldIdLst>
  <p:sldSz cx="12192000" cy="6858000"/>
  <p:notesSz cx="6858000" cy="9144000"/>
  <p:custDataLst>
    <p:tags r:id="rId18"/>
  </p:custDataLst>
  <p:defaultTextStyle>
    <a:defPPr>
      <a:defRPr lang="id-ID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 Slides" id="{A090B29A-0FD7-CB4A-8339-D761852DA76E}">
          <p14:sldIdLst>
            <p14:sldId id="436"/>
            <p14:sldId id="446"/>
            <p14:sldId id="525"/>
            <p14:sldId id="527"/>
            <p14:sldId id="529"/>
            <p14:sldId id="532"/>
            <p14:sldId id="530"/>
            <p14:sldId id="531"/>
            <p14:sldId id="533"/>
            <p14:sldId id="535"/>
            <p14:sldId id="536"/>
          </p14:sldIdLst>
        </p14:section>
        <p14:section name="Segue" id="{8F312369-66F9-1F4E-9644-3590CB5A3CA7}">
          <p14:sldIdLst/>
        </p14:section>
        <p14:section name="Illustration Slides" id="{D6040910-B0C5-5D45-A2CA-BEFB26D85286}">
          <p14:sldIdLst/>
        </p14:section>
        <p14:section name="Quotes Slides" id="{1A8BEF56-4ECE-8E4F-B725-0045F5AAFEDB}">
          <p14:sldIdLst/>
        </p14:section>
        <p14:section name="Text Slides" id="{5579341F-D9DF-E049-ABF1-A8F04B0A0EF4}">
          <p14:sldIdLst/>
        </p14:section>
        <p14:section name="Image Slides" id="{40110DA5-037D-BA48-988F-2FC8243D1ACE}">
          <p14:sldIdLst/>
        </p14:section>
        <p14:section name="Tables &amp; Charts" id="{B858AFD6-15F4-BA49-AAFD-CAC5A505EC2C}">
          <p14:sldIdLst/>
        </p14:section>
        <p14:section name="Devices" id="{634A8DB6-DFB8-6746-9C43-824406F146D2}">
          <p14:sldIdLst/>
        </p14:section>
        <p14:section name="Closing" id="{3C7A9338-C40D-8943-AEA8-11032E08C1D6}">
          <p14:sldIdLst/>
        </p14:section>
        <p14:section name="Best Practices" id="{F232DEFB-DF46-3244-8655-8ECA49B2F096}">
          <p14:sldIdLst/>
        </p14:section>
        <p14:section name="Progress Logos" id="{E692BD2D-BB3B-3D4A-A83C-07B0E42CC1CA}">
          <p14:sldIdLst/>
        </p14:section>
        <p14:section name="Icons &amp; illustrations" id="{C40087D4-E51F-0A4F-A571-CA4A5075A135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ikki Scaplen" initials="NS" lastIdx="19" clrIdx="0">
    <p:extLst>
      <p:ext uri="{19B8F6BF-5375-455C-9EA6-DF929625EA0E}">
        <p15:presenceInfo xmlns:p15="http://schemas.microsoft.com/office/powerpoint/2012/main" userId="S::nscaplen@progress.com::e49d323e-6f55-401c-9b10-1207db30779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EF5FF"/>
    <a:srgbClr val="D5F1FF"/>
    <a:srgbClr val="00D364"/>
    <a:srgbClr val="76C1FF"/>
    <a:srgbClr val="CDFFCA"/>
    <a:srgbClr val="F3FAFF"/>
    <a:srgbClr val="FFFFFF"/>
    <a:srgbClr val="90EF8E"/>
    <a:srgbClr val="00D5C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589" autoAdjust="0"/>
    <p:restoredTop sz="95775" autoAdjust="0"/>
  </p:normalViewPr>
  <p:slideViewPr>
    <p:cSldViewPr snapToGrid="0" showGuides="1">
      <p:cViewPr varScale="1">
        <p:scale>
          <a:sx n="106" d="100"/>
          <a:sy n="106" d="100"/>
        </p:scale>
        <p:origin x="308" y="6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2582"/>
    </p:cViewPr>
  </p:sorterViewPr>
  <p:notesViewPr>
    <p:cSldViewPr snapToGrid="0" showGuides="1">
      <p:cViewPr varScale="1">
        <p:scale>
          <a:sx n="169" d="100"/>
          <a:sy n="169" d="100"/>
        </p:scale>
        <p:origin x="6608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d-ID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3FA2CC-1B66-4639-B8DA-DB494024A982}" type="datetimeFigureOut">
              <a:rPr lang="id-ID" smtClean="0">
                <a:latin typeface="Arial" panose="020B0604020202020204" pitchFamily="34" charset="0"/>
              </a:rPr>
              <a:t>11/03/2022</a:t>
            </a:fld>
            <a:endParaRPr lang="id-ID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d-ID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279753B-F854-4C78-AD17-D3232BD27861}" type="slidenum">
              <a:rPr lang="id-ID" smtClean="0">
                <a:latin typeface="Arial" panose="020B0604020202020204" pitchFamily="34" charset="0"/>
              </a:rPr>
              <a:t>‹#›</a:t>
            </a:fld>
            <a:endParaRPr lang="id-ID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99300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Arial" panose="020B0604020202020204" pitchFamily="34" charset="0"/>
              </a:defRPr>
            </a:lvl1pPr>
          </a:lstStyle>
          <a:p>
            <a:endParaRPr lang="id-ID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Arial" panose="020B0604020202020204" pitchFamily="34" charset="0"/>
              </a:defRPr>
            </a:lvl1pPr>
          </a:lstStyle>
          <a:p>
            <a:fld id="{E38D6616-5898-4FCB-A57E-5ECAF0ABEA38}" type="datetimeFigureOut">
              <a:rPr lang="id-ID" smtClean="0"/>
              <a:pPr/>
              <a:t>11/03/2022</a:t>
            </a:fld>
            <a:endParaRPr lang="id-ID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d-ID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id-ID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Arial" panose="020B0604020202020204" pitchFamily="34" charset="0"/>
              </a:defRPr>
            </a:lvl1pPr>
          </a:lstStyle>
          <a:p>
            <a:endParaRPr lang="id-ID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Arial" panose="020B0604020202020204" pitchFamily="34" charset="0"/>
              </a:defRPr>
            </a:lvl1pPr>
          </a:lstStyle>
          <a:p>
            <a:fld id="{293019A1-94FF-4EE3-817F-0E236D94A3C5}" type="slidenum">
              <a:rPr lang="id-ID" smtClean="0"/>
              <a:pPr/>
              <a:t>‹#›</a:t>
            </a:fld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5376619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3019A1-94FF-4EE3-817F-0E236D94A3C5}" type="slidenum">
              <a:rPr lang="id-ID" smtClean="0"/>
              <a:t>1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2221306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image" Target="../media/image13.png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4.png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image" Target="../media/image20.png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5.bin"/><Relationship Id="rId5" Type="http://schemas.openxmlformats.org/officeDocument/2006/relationships/image" Target="../media/image23.svg"/><Relationship Id="rId4" Type="http://schemas.openxmlformats.org/officeDocument/2006/relationships/image" Target="../media/image22.png"/><Relationship Id="rId9" Type="http://schemas.openxmlformats.org/officeDocument/2006/relationships/image" Target="../media/image15.svg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5.svg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Relationship Id="rId9" Type="http://schemas.openxmlformats.org/officeDocument/2006/relationships/image" Target="../media/image15.svg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27.bin"/><Relationship Id="rId5" Type="http://schemas.openxmlformats.org/officeDocument/2006/relationships/image" Target="../media/image23.svg"/><Relationship Id="rId4" Type="http://schemas.openxmlformats.org/officeDocument/2006/relationships/image" Target="../media/image22.png"/><Relationship Id="rId9" Type="http://schemas.openxmlformats.org/officeDocument/2006/relationships/image" Target="../media/image15.svg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5.svg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2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Relationship Id="rId9" Type="http://schemas.openxmlformats.org/officeDocument/2006/relationships/image" Target="../media/image15.svg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29.bin"/><Relationship Id="rId5" Type="http://schemas.openxmlformats.org/officeDocument/2006/relationships/image" Target="../media/image23.svg"/><Relationship Id="rId4" Type="http://schemas.openxmlformats.org/officeDocument/2006/relationships/image" Target="../media/image22.png"/><Relationship Id="rId9" Type="http://schemas.openxmlformats.org/officeDocument/2006/relationships/image" Target="../media/image15.svg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30.bin"/><Relationship Id="rId5" Type="http://schemas.openxmlformats.org/officeDocument/2006/relationships/image" Target="../media/image25.svg"/><Relationship Id="rId4" Type="http://schemas.openxmlformats.org/officeDocument/2006/relationships/image" Target="../media/image24.png"/><Relationship Id="rId9" Type="http://schemas.openxmlformats.org/officeDocument/2006/relationships/image" Target="../media/image15.sv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8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7.svg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2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8.png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30.png"/><Relationship Id="rId4" Type="http://schemas.openxmlformats.org/officeDocument/2006/relationships/image" Target="../media/image31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13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4114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34"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B1AA0DB6-5A8E-3741-A2E5-D936D902DD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8973" y="4874676"/>
            <a:ext cx="5278437" cy="388554"/>
          </a:xfrm>
        </p:spPr>
        <p:txBody>
          <a:bodyPr tIns="36000" anchor="ctr" anchorCtr="0">
            <a:noAutofit/>
          </a:bodyPr>
          <a:lstStyle>
            <a:lvl1pPr marL="0" indent="0" algn="l">
              <a:lnSpc>
                <a:spcPts val="1800"/>
              </a:lnSpc>
              <a:buNone/>
              <a:defRPr sz="2400" b="1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ED3701CF-5DFA-EE46-92C6-82EBEFFD83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38973" y="5274806"/>
            <a:ext cx="5278437" cy="312131"/>
          </a:xfrm>
        </p:spPr>
        <p:txBody>
          <a:bodyPr tIns="72000" anchor="ctr" anchorCtr="0">
            <a:noAutofit/>
          </a:bodyPr>
          <a:lstStyle>
            <a:lvl1pPr marL="0" indent="0" algn="l">
              <a:lnSpc>
                <a:spcPts val="1800"/>
              </a:lnSpc>
              <a:buNone/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08E4E795-5B28-AA4F-9CA0-12577F806AA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8973" y="5598513"/>
            <a:ext cx="5278437" cy="312131"/>
          </a:xfrm>
        </p:spPr>
        <p:txBody>
          <a:bodyPr tIns="72000" anchor="ctr" anchorCtr="0">
            <a:noAutofit/>
          </a:bodyPr>
          <a:lstStyle>
            <a:lvl1pPr marL="0" indent="0" algn="l">
              <a:lnSpc>
                <a:spcPts val="1800"/>
              </a:lnSpc>
              <a:buNone/>
              <a:defRPr sz="1800" b="0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28" name="Title 3">
            <a:extLst>
              <a:ext uri="{FF2B5EF4-FFF2-40B4-BE49-F238E27FC236}">
                <a16:creationId xmlns:a16="http://schemas.microsoft.com/office/drawing/2014/main" id="{9EE63D74-8A47-0A4F-A4FD-DE60CD33AB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8973" y="1666107"/>
            <a:ext cx="5261778" cy="1199693"/>
          </a:xfrm>
          <a:prstGeom prst="rect">
            <a:avLst/>
          </a:prstGeom>
        </p:spPr>
        <p:txBody>
          <a:bodyPr lIns="0" tIns="108000" rIns="0" bIns="0" anchor="t" anchorCtr="0">
            <a:noAutofit/>
          </a:bodyPr>
          <a:lstStyle>
            <a:lvl1pPr>
              <a:lnSpc>
                <a:spcPct val="75000"/>
              </a:lnSpc>
              <a:defRPr sz="4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BG" dirty="0"/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id="{77BE795C-072A-459C-8648-8D68BC93FAA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426315" y="745314"/>
            <a:ext cx="1341526" cy="311178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4D3546BD-7E45-4960-A98F-8DEA36022CB4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437375" y="0"/>
            <a:ext cx="5755123" cy="6858594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6B76E93-9883-F34D-AFCA-0B3B569868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8973" y="3429000"/>
            <a:ext cx="5294312" cy="674687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GB" dirty="0" err="1"/>
              <a:t>Subheadline</a:t>
            </a:r>
            <a:endParaRPr lang="en-BG" dirty="0"/>
          </a:p>
        </p:txBody>
      </p:sp>
    </p:spTree>
    <p:extLst>
      <p:ext uri="{BB962C8B-B14F-4D97-AF65-F5344CB8AC3E}">
        <p14:creationId xmlns:p14="http://schemas.microsoft.com/office/powerpoint/2010/main" val="32708060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 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D76F96D7-3861-4A18-8BE8-BFE2C16BD1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39E0605-A019-8B42-9A32-973C02298032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59C976F3-4B2A-4592-A02C-33E0810006D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94075" y="6453499"/>
            <a:ext cx="939600" cy="217948"/>
          </a:xfrm>
          <a:prstGeom prst="rect">
            <a:avLst/>
          </a:prstGeom>
        </p:spPr>
      </p:pic>
      <p:sp>
        <p:nvSpPr>
          <p:cNvPr id="6" name="Rectangle 3">
            <a:extLst>
              <a:ext uri="{FF2B5EF4-FFF2-40B4-BE49-F238E27FC236}">
                <a16:creationId xmlns:a16="http://schemas.microsoft.com/office/drawing/2014/main" id="{2CD28ED7-631C-7840-9872-270900F9D50F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2540642" y="2592388"/>
            <a:ext cx="6973747" cy="1606550"/>
          </a:xfrm>
          <a:prstGeom prst="rect">
            <a:avLst/>
          </a:prstGeom>
          <a:ln algn="ctr"/>
        </p:spPr>
        <p:txBody>
          <a:bodyPr vert="horz" lIns="0" tIns="0" rIns="0" bIns="0" anchor="ctr" anchorCtr="0">
            <a:noAutofit/>
          </a:bodyPr>
          <a:lstStyle>
            <a:lvl1pPr algn="ctr">
              <a:lnSpc>
                <a:spcPts val="3600"/>
              </a:lnSpc>
              <a:defRPr sz="4000" b="1">
                <a:solidFill>
                  <a:schemeClr val="tx1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r>
              <a:rPr lang="en-US" dirty="0"/>
              <a:t>Centered Title Style</a:t>
            </a:r>
            <a:br>
              <a:rPr lang="en-US" dirty="0"/>
            </a:br>
            <a:r>
              <a:rPr lang="en-US" dirty="0"/>
              <a:t>Up to</a:t>
            </a:r>
            <a:br>
              <a:rPr lang="en-US" dirty="0"/>
            </a:br>
            <a:r>
              <a:rPr lang="en-US" dirty="0"/>
              <a:t>Three Lin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527377C-2599-4543-9545-AACF65E5CE68}"/>
              </a:ext>
            </a:extLst>
          </p:cNvPr>
          <p:cNvSpPr txBox="1"/>
          <p:nvPr userDrawn="1"/>
        </p:nvSpPr>
        <p:spPr>
          <a:xfrm>
            <a:off x="4507424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</a:t>
            </a:r>
            <a:r>
              <a:rPr lang="en-US" sz="600" b="0" i="0" spc="0" baseline="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6689801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5F44089-961F-D248-AD39-7C659F48FC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91251" y="1872298"/>
            <a:ext cx="5278437" cy="43307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342900" indent="-342900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61753ADC-75D8-4448-B5D4-E9BBB1B32F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1251" y="538162"/>
            <a:ext cx="5278437" cy="1117523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/>
          <a:p>
            <a:r>
              <a:rPr lang="en-GB" dirty="0"/>
              <a:t>Agenda</a:t>
            </a:r>
            <a:endParaRPr lang="en-BG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08ADCBA-BAEE-4E90-8DF9-D7E52648636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601065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56382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74ADF09-6F6D-4AEF-93DA-46336FD7044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6059424" cy="6858000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191116-063A-2B4A-B235-9120E18322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91251" y="1872298"/>
            <a:ext cx="5278437" cy="43307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342900" indent="-342900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Placeholder 7">
            <a:extLst>
              <a:ext uri="{FF2B5EF4-FFF2-40B4-BE49-F238E27FC236}">
                <a16:creationId xmlns:a16="http://schemas.microsoft.com/office/drawing/2014/main" id="{1D14C74F-C6B8-BA4D-B7D2-50D8BE1D38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1251" y="538162"/>
            <a:ext cx="5278437" cy="1117523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/>
          <a:p>
            <a:r>
              <a:rPr lang="en-GB" dirty="0"/>
              <a:t>Agenda</a:t>
            </a:r>
            <a:endParaRPr lang="en-BG" dirty="0"/>
          </a:p>
        </p:txBody>
      </p:sp>
    </p:spTree>
    <p:extLst>
      <p:ext uri="{BB962C8B-B14F-4D97-AF65-F5344CB8AC3E}">
        <p14:creationId xmlns:p14="http://schemas.microsoft.com/office/powerpoint/2010/main" val="247369753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53A27003-DC61-C64B-B594-FC0DBDB245C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DE9F7"/>
          </a:solidFill>
        </p:spPr>
        <p:txBody>
          <a:bodyPr vert="horz" lIns="91440" tIns="72000" rIns="91440" bIns="756000" rtlCol="0" anchor="ctr">
            <a:noAutofit/>
          </a:bodyPr>
          <a:lstStyle>
            <a:lvl1pPr algn="ctr">
              <a:defRPr lang="id-ID" sz="18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  <a:endParaRPr lang="id-ID" dirty="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41450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9"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>
            <a:extLst>
              <a:ext uri="{FF2B5EF4-FFF2-40B4-BE49-F238E27FC236}">
                <a16:creationId xmlns:a16="http://schemas.microsoft.com/office/drawing/2014/main" id="{0914E58E-8C0C-C445-92B6-E34490EA0F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2312" y="4198939"/>
            <a:ext cx="7102475" cy="2038350"/>
          </a:xfrm>
          <a:prstGeom prst="rect">
            <a:avLst/>
          </a:prstGeom>
        </p:spPr>
        <p:txBody>
          <a:bodyPr vert="horz" tIns="144000" anchor="t">
            <a:noAutofit/>
          </a:bodyPr>
          <a:lstStyle>
            <a:lvl1pPr>
              <a:lnSpc>
                <a:spcPts val="5400"/>
              </a:lnSpc>
              <a:defRPr lang="en-US" sz="5000" b="1" i="0" kern="0" spc="-150" noProof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Very Important </a:t>
            </a:r>
            <a:br>
              <a:rPr lang="bg-BG" dirty="0"/>
            </a:br>
            <a:r>
              <a:rPr lang="en-US" dirty="0"/>
              <a:t>Message / Statement </a:t>
            </a:r>
            <a:br>
              <a:rPr lang="bg-BG" dirty="0"/>
            </a:br>
            <a:r>
              <a:rPr lang="en-US" dirty="0"/>
              <a:t>/ Conclusion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24BB9F5E-A805-46CD-8420-640AE6C67799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0" smtClean="0">
                <a:solidFill>
                  <a:schemeClr val="bg1">
                    <a:alpha val="69766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0" dirty="0">
              <a:solidFill>
                <a:schemeClr val="bg1">
                  <a:alpha val="69766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149377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438742F8-5A41-4D57-8915-9A3A10D784C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03DF981-DDA8-4688-9D48-4FA539CF78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82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46" name="think-cell Slide" r:id="rId5" imgW="349" imgH="349" progId="TCLayout.ActiveDocument.1">
                  <p:embed/>
                </p:oleObj>
              </mc:Choice>
              <mc:Fallback>
                <p:oleObj name="think-cell Slide" r:id="rId5" imgW="349" imgH="34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03DF981-DDA8-4688-9D48-4FA539CF78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D353A27C-9CA1-41C1-8BC3-5CD8A6984842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69766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 dirty="0">
              <a:solidFill>
                <a:schemeClr val="bg1">
                  <a:alpha val="69766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6CEBBCEF-39BE-0E4C-9FD9-5B7346DB44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2312" y="4198939"/>
            <a:ext cx="7102475" cy="2038350"/>
          </a:xfrm>
          <a:prstGeom prst="rect">
            <a:avLst/>
          </a:prstGeom>
        </p:spPr>
        <p:txBody>
          <a:bodyPr vert="horz" tIns="144000" anchor="t">
            <a:noAutofit/>
          </a:bodyPr>
          <a:lstStyle>
            <a:lvl1pPr>
              <a:lnSpc>
                <a:spcPts val="5400"/>
              </a:lnSpc>
              <a:defRPr lang="en-US" sz="5000" b="1" i="0" kern="0" spc="-150" noProof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Very Important </a:t>
            </a:r>
            <a:br>
              <a:rPr lang="bg-BG" dirty="0"/>
            </a:br>
            <a:r>
              <a:rPr lang="en-US" dirty="0"/>
              <a:t>Message / Statement </a:t>
            </a:r>
            <a:br>
              <a:rPr lang="bg-BG" dirty="0"/>
            </a:br>
            <a:r>
              <a:rPr lang="en-US" dirty="0"/>
              <a:t>/ Conclus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644D47E-2B4A-414F-B983-788987889D27}"/>
              </a:ext>
            </a:extLst>
          </p:cNvPr>
          <p:cNvSpPr txBox="1"/>
          <p:nvPr userDrawn="1"/>
        </p:nvSpPr>
        <p:spPr>
          <a:xfrm>
            <a:off x="4507424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</a:t>
            </a:r>
            <a:r>
              <a:rPr lang="en-US" sz="600" b="0" i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999918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Slide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Background pattern&#10;&#10;Description automatically generated">
            <a:extLst>
              <a:ext uri="{FF2B5EF4-FFF2-40B4-BE49-F238E27FC236}">
                <a16:creationId xmlns:a16="http://schemas.microsoft.com/office/drawing/2014/main" id="{8C9E8280-2F6B-4947-9931-9EE1011B90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48EB774F-D493-4254-A24C-E9681757802C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69766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 dirty="0">
              <a:solidFill>
                <a:schemeClr val="bg1">
                  <a:alpha val="69766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47C19ED-F2B0-4B41-893A-30A30DCEE0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2312" y="4198939"/>
            <a:ext cx="7102475" cy="2038350"/>
          </a:xfrm>
          <a:prstGeom prst="rect">
            <a:avLst/>
          </a:prstGeom>
        </p:spPr>
        <p:txBody>
          <a:bodyPr vert="horz" tIns="144000" anchor="t">
            <a:noAutofit/>
          </a:bodyPr>
          <a:lstStyle>
            <a:lvl1pPr>
              <a:lnSpc>
                <a:spcPts val="5400"/>
              </a:lnSpc>
              <a:defRPr lang="en-US" sz="5000" b="1" i="0" kern="0" spc="-150" noProof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Very Important </a:t>
            </a:r>
            <a:br>
              <a:rPr lang="bg-BG" dirty="0"/>
            </a:br>
            <a:r>
              <a:rPr lang="en-US" dirty="0"/>
              <a:t>Message / Statement </a:t>
            </a:r>
            <a:br>
              <a:rPr lang="bg-BG" dirty="0"/>
            </a:br>
            <a:r>
              <a:rPr lang="en-US" dirty="0"/>
              <a:t>/ Conclus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806FEC3-598C-8A4B-9E0E-C28EF72E794F}"/>
              </a:ext>
            </a:extLst>
          </p:cNvPr>
          <p:cNvSpPr txBox="1"/>
          <p:nvPr userDrawn="1"/>
        </p:nvSpPr>
        <p:spPr>
          <a:xfrm>
            <a:off x="4507424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</a:t>
            </a:r>
            <a:r>
              <a:rPr lang="en-US" sz="600" b="0" i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71233673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DE9F7"/>
          </a:solidFill>
        </p:spPr>
        <p:txBody>
          <a:bodyPr vert="horz" lIns="91440" tIns="72000" rIns="91440" bIns="756000" rtlCol="0" anchor="ctr">
            <a:noAutofit/>
          </a:bodyPr>
          <a:lstStyle>
            <a:lvl1pPr algn="ctr">
              <a:defRPr lang="id-ID" sz="18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88605083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69719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7"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7">
            <a:extLst>
              <a:ext uri="{FF2B5EF4-FFF2-40B4-BE49-F238E27FC236}">
                <a16:creationId xmlns:a16="http://schemas.microsoft.com/office/drawing/2014/main" id="{97D07DB7-7D51-724B-BE5C-77B45E5DB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3"/>
            <a:ext cx="10747374" cy="1139825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/>
          <a:p>
            <a:r>
              <a:rPr lang="en-GB" dirty="0"/>
              <a:t>Click to edit Master title style</a:t>
            </a:r>
            <a:endParaRPr lang="en-BG" dirty="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3547A122-F4DA-FC4B-889F-1490781356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600" y="1805151"/>
            <a:ext cx="10746088" cy="44098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342900" indent="-342900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865173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4976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1"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7">
            <a:extLst>
              <a:ext uri="{FF2B5EF4-FFF2-40B4-BE49-F238E27FC236}">
                <a16:creationId xmlns:a16="http://schemas.microsoft.com/office/drawing/2014/main" id="{97D07DB7-7D51-724B-BE5C-77B45E5DBA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2313" y="538163"/>
            <a:ext cx="10747374" cy="1139825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/>
          <a:p>
            <a:r>
              <a:rPr lang="en-GB" dirty="0"/>
              <a:t>Sample Long Agenda</a:t>
            </a:r>
            <a:endParaRPr lang="en-BG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F268F93-C42D-F345-89FC-6F4A1951E806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214536" y="1805152"/>
            <a:ext cx="5255152" cy="44098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9875" indent="-269875">
              <a:lnSpc>
                <a:spcPct val="100000"/>
              </a:lnSpc>
              <a:spcAft>
                <a:spcPts val="1500"/>
              </a:spcAft>
              <a:buSzPct val="100000"/>
              <a:buFont typeface="+mj-lt"/>
              <a:buAutoNum type="arabicPeriod"/>
              <a:tabLst/>
              <a:defRPr sz="2000"/>
            </a:lvl2pPr>
            <a:lvl3pPr marL="180975" indent="0">
              <a:buNone/>
              <a:defRPr/>
            </a:lvl3pPr>
          </a:lstStyle>
          <a:p>
            <a:pPr lvl="1"/>
            <a:r>
              <a:rPr lang="en-US" dirty="0"/>
              <a:t>Topic 1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54ED980-DB6C-134C-A490-BBE8DD2B0AB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2313" y="1805154"/>
            <a:ext cx="5254625" cy="4409909"/>
          </a:xfrm>
        </p:spPr>
        <p:txBody>
          <a:bodyPr/>
          <a:lstStyle>
            <a:lvl1pPr marL="184150" indent="-184150">
              <a:tabLst/>
              <a:defRPr/>
            </a:lvl1pPr>
          </a:lstStyle>
          <a:p>
            <a:pPr lvl="0"/>
            <a:r>
              <a:rPr lang="en-GB" dirty="0"/>
              <a:t>Click to edit Master text styles</a:t>
            </a:r>
            <a:endParaRPr lang="en-BG" dirty="0"/>
          </a:p>
        </p:txBody>
      </p:sp>
    </p:spTree>
    <p:extLst>
      <p:ext uri="{BB962C8B-B14F-4D97-AF65-F5344CB8AC3E}">
        <p14:creationId xmlns:p14="http://schemas.microsoft.com/office/powerpoint/2010/main" val="27612788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1322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5"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7">
            <a:extLst>
              <a:ext uri="{FF2B5EF4-FFF2-40B4-BE49-F238E27FC236}">
                <a16:creationId xmlns:a16="http://schemas.microsoft.com/office/drawing/2014/main" id="{97D07DB7-7D51-724B-BE5C-77B45E5DB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3"/>
            <a:ext cx="10747374" cy="1139825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/>
          <a:p>
            <a:r>
              <a:rPr lang="en-GB" dirty="0"/>
              <a:t>Click to edit Master title style</a:t>
            </a:r>
            <a:endParaRPr lang="en-BG" dirty="0"/>
          </a:p>
        </p:txBody>
      </p:sp>
    </p:spTree>
    <p:extLst>
      <p:ext uri="{BB962C8B-B14F-4D97-AF65-F5344CB8AC3E}">
        <p14:creationId xmlns:p14="http://schemas.microsoft.com/office/powerpoint/2010/main" val="34110035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 descr="Background pattern&#10;&#10;Description automatically generated">
            <a:extLst>
              <a:ext uri="{FF2B5EF4-FFF2-40B4-BE49-F238E27FC236}">
                <a16:creationId xmlns:a16="http://schemas.microsoft.com/office/drawing/2014/main" id="{0AA7A2AD-DF24-40EA-A53E-3386C69575C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1763375" cy="6858000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2321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8" name="think-cell Slide" r:id="rId5" imgW="349" imgH="349" progId="TCLayout.ActiveDocument.1">
                  <p:embed/>
                </p:oleObj>
              </mc:Choice>
              <mc:Fallback>
                <p:oleObj name="think-cell Slide" r:id="rId5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6">
            <a:extLst>
              <a:ext uri="{FF2B5EF4-FFF2-40B4-BE49-F238E27FC236}">
                <a16:creationId xmlns:a16="http://schemas.microsoft.com/office/drawing/2014/main" id="{A87FB057-54B4-994F-8BD3-467867D7B63A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722312" y="5273378"/>
            <a:ext cx="5278437" cy="441487"/>
          </a:xfrm>
          <a:prstGeom prst="rect">
            <a:avLst/>
          </a:prstGeom>
          <a:ln algn="ctr"/>
        </p:spPr>
        <p:txBody>
          <a:bodyPr lIns="0" tIns="0" rIns="0" bIns="0" anchor="ctr" anchorCtr="0"/>
          <a:lstStyle>
            <a:lvl1pPr marL="0" indent="0">
              <a:buClrTx/>
              <a:buFontTx/>
              <a:buNone/>
              <a:defRPr sz="2400" i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r>
              <a:rPr lang="en-US" dirty="0"/>
              <a:t>Subtitle Goes Here</a:t>
            </a: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A41AE411-511D-8146-8417-A7B559E66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0641" y="3736975"/>
            <a:ext cx="5261778" cy="1383817"/>
          </a:xfrm>
          <a:prstGeom prst="rect">
            <a:avLst/>
          </a:prstGeom>
        </p:spPr>
        <p:txBody>
          <a:bodyPr vert="horz" lIns="0" tIns="108000" rIns="0" bIns="0" anchor="t" anchorCtr="0">
            <a:noAutofit/>
          </a:bodyPr>
          <a:lstStyle>
            <a:lvl1pPr>
              <a:lnSpc>
                <a:spcPts val="3600"/>
              </a:lnSpc>
              <a:defRPr sz="4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Up to</a:t>
            </a:r>
            <a:br>
              <a:rPr lang="en-GB" dirty="0"/>
            </a:br>
            <a:r>
              <a:rPr lang="en-GB" dirty="0"/>
              <a:t>Three </a:t>
            </a:r>
            <a:br>
              <a:rPr lang="en-GB" dirty="0"/>
            </a:br>
            <a:r>
              <a:rPr lang="en-GB" dirty="0"/>
              <a:t>Lines</a:t>
            </a:r>
            <a:endParaRPr lang="en-BG" dirty="0"/>
          </a:p>
        </p:txBody>
      </p:sp>
      <p:sp>
        <p:nvSpPr>
          <p:cNvPr id="38" name="Picture Placeholder 37">
            <a:extLst>
              <a:ext uri="{FF2B5EF4-FFF2-40B4-BE49-F238E27FC236}">
                <a16:creationId xmlns:a16="http://schemas.microsoft.com/office/drawing/2014/main" id="{2BF545EA-B47D-46DC-9BE9-5554CA1726A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207452" y="0"/>
            <a:ext cx="10984548" cy="6858000"/>
          </a:xfrm>
          <a:custGeom>
            <a:avLst/>
            <a:gdLst>
              <a:gd name="connsiteX0" fmla="*/ 0 w 10984548"/>
              <a:gd name="connsiteY0" fmla="*/ 0 h 6851650"/>
              <a:gd name="connsiteX1" fmla="*/ 6617336 w 10984548"/>
              <a:gd name="connsiteY1" fmla="*/ 0 h 6851650"/>
              <a:gd name="connsiteX2" fmla="*/ 10717848 w 10984548"/>
              <a:gd name="connsiteY2" fmla="*/ 0 h 6851650"/>
              <a:gd name="connsiteX3" fmla="*/ 10961688 w 10984548"/>
              <a:gd name="connsiteY3" fmla="*/ 0 h 6851650"/>
              <a:gd name="connsiteX4" fmla="*/ 10984548 w 10984548"/>
              <a:gd name="connsiteY4" fmla="*/ 0 h 6851650"/>
              <a:gd name="connsiteX5" fmla="*/ 10984548 w 10984548"/>
              <a:gd name="connsiteY5" fmla="*/ 2921000 h 6851650"/>
              <a:gd name="connsiteX6" fmla="*/ 10984548 w 10984548"/>
              <a:gd name="connsiteY6" fmla="*/ 6851650 h 6851650"/>
              <a:gd name="connsiteX7" fmla="*/ 10961688 w 10984548"/>
              <a:gd name="connsiteY7" fmla="*/ 6851650 h 6851650"/>
              <a:gd name="connsiteX8" fmla="*/ 10717848 w 10984548"/>
              <a:gd name="connsiteY8" fmla="*/ 6851650 h 6851650"/>
              <a:gd name="connsiteX9" fmla="*/ 10529888 w 10984548"/>
              <a:gd name="connsiteY9" fmla="*/ 6851650 h 6851650"/>
              <a:gd name="connsiteX10" fmla="*/ 10529888 w 10984548"/>
              <a:gd name="connsiteY10" fmla="*/ 6270625 h 6851650"/>
              <a:gd name="connsiteX11" fmla="*/ 10529888 w 10984548"/>
              <a:gd name="connsiteY11" fmla="*/ 6238875 h 6851650"/>
              <a:gd name="connsiteX12" fmla="*/ 10523538 w 10984548"/>
              <a:gd name="connsiteY12" fmla="*/ 6203950 h 6851650"/>
              <a:gd name="connsiteX13" fmla="*/ 10514013 w 10984548"/>
              <a:gd name="connsiteY13" fmla="*/ 6172200 h 6851650"/>
              <a:gd name="connsiteX14" fmla="*/ 10501313 w 10984548"/>
              <a:gd name="connsiteY14" fmla="*/ 6140450 h 6851650"/>
              <a:gd name="connsiteX15" fmla="*/ 10479088 w 10984548"/>
              <a:gd name="connsiteY15" fmla="*/ 6099175 h 6851650"/>
              <a:gd name="connsiteX16" fmla="*/ 10453688 w 10984548"/>
              <a:gd name="connsiteY16" fmla="*/ 6061075 h 6851650"/>
              <a:gd name="connsiteX17" fmla="*/ 10421938 w 10984548"/>
              <a:gd name="connsiteY17" fmla="*/ 6029325 h 6851650"/>
              <a:gd name="connsiteX18" fmla="*/ 10387013 w 10984548"/>
              <a:gd name="connsiteY18" fmla="*/ 6000750 h 6851650"/>
              <a:gd name="connsiteX19" fmla="*/ 10347325 w 10984548"/>
              <a:gd name="connsiteY19" fmla="*/ 5975350 h 6851650"/>
              <a:gd name="connsiteX20" fmla="*/ 10309225 w 10984548"/>
              <a:gd name="connsiteY20" fmla="*/ 5949950 h 6851650"/>
              <a:gd name="connsiteX21" fmla="*/ 10226675 w 10984548"/>
              <a:gd name="connsiteY21" fmla="*/ 5902325 h 6851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984548" h="6851650">
                <a:moveTo>
                  <a:pt x="0" y="0"/>
                </a:moveTo>
                <a:lnTo>
                  <a:pt x="6617336" y="0"/>
                </a:lnTo>
                <a:lnTo>
                  <a:pt x="10717848" y="0"/>
                </a:lnTo>
                <a:lnTo>
                  <a:pt x="10961688" y="0"/>
                </a:lnTo>
                <a:lnTo>
                  <a:pt x="10984548" y="0"/>
                </a:lnTo>
                <a:lnTo>
                  <a:pt x="10984548" y="2921000"/>
                </a:lnTo>
                <a:lnTo>
                  <a:pt x="10984548" y="6851650"/>
                </a:lnTo>
                <a:lnTo>
                  <a:pt x="10961688" y="6851650"/>
                </a:lnTo>
                <a:lnTo>
                  <a:pt x="10717848" y="6851650"/>
                </a:lnTo>
                <a:lnTo>
                  <a:pt x="10529888" y="6851650"/>
                </a:lnTo>
                <a:lnTo>
                  <a:pt x="10529888" y="6270625"/>
                </a:lnTo>
                <a:lnTo>
                  <a:pt x="10529888" y="6238875"/>
                </a:lnTo>
                <a:lnTo>
                  <a:pt x="10523538" y="6203950"/>
                </a:lnTo>
                <a:lnTo>
                  <a:pt x="10514013" y="6172200"/>
                </a:lnTo>
                <a:lnTo>
                  <a:pt x="10501313" y="6140450"/>
                </a:lnTo>
                <a:lnTo>
                  <a:pt x="10479088" y="6099175"/>
                </a:lnTo>
                <a:lnTo>
                  <a:pt x="10453688" y="6061075"/>
                </a:lnTo>
                <a:lnTo>
                  <a:pt x="10421938" y="6029325"/>
                </a:lnTo>
                <a:lnTo>
                  <a:pt x="10387013" y="6000750"/>
                </a:lnTo>
                <a:lnTo>
                  <a:pt x="10347325" y="5975350"/>
                </a:lnTo>
                <a:lnTo>
                  <a:pt x="10309225" y="5949950"/>
                </a:lnTo>
                <a:lnTo>
                  <a:pt x="10226675" y="5902325"/>
                </a:lnTo>
                <a:close/>
              </a:path>
            </a:pathLst>
          </a:custGeom>
          <a:solidFill>
            <a:schemeClr val="bg2"/>
          </a:solidFill>
        </p:spPr>
        <p:txBody>
          <a:bodyPr vert="horz" wrap="square" lIns="0" tIns="0" rIns="0" bIns="0" rtlCol="0" anchor="t" anchorCtr="0">
            <a:noAutofit/>
          </a:bodyPr>
          <a:lstStyle>
            <a:lvl1pPr marL="0" indent="0" algn="r">
              <a:buNone/>
              <a:defRPr lang="id-ID" b="1">
                <a:solidFill>
                  <a:srgbClr val="F162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algn="r"/>
            <a:r>
              <a:rPr lang="en-US" dirty="0"/>
              <a:t>Click icon to add picture</a:t>
            </a:r>
          </a:p>
          <a:p>
            <a:pPr lvl="0" algn="r"/>
            <a:r>
              <a:rPr lang="en-US" dirty="0"/>
              <a:t>or remove photo frame</a:t>
            </a:r>
            <a:endParaRPr lang="id-ID" dirty="0"/>
          </a:p>
        </p:txBody>
      </p:sp>
      <p:pic>
        <p:nvPicPr>
          <p:cNvPr id="12" name="Picture 3">
            <a:extLst>
              <a:ext uri="{FF2B5EF4-FFF2-40B4-BE49-F238E27FC236}">
                <a16:creationId xmlns:a16="http://schemas.microsoft.com/office/drawing/2014/main" id="{5FFB1DD7-A134-4800-A20B-F8CB2D63D44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26315" y="3272915"/>
            <a:ext cx="1342800" cy="311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848587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no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26744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9"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098376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72052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3"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AA00555-084C-EE4E-B627-8B27C19D018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2313" y="1813033"/>
            <a:ext cx="7102475" cy="4445719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9" name="Title Placeholder 7">
            <a:extLst>
              <a:ext uri="{FF2B5EF4-FFF2-40B4-BE49-F238E27FC236}">
                <a16:creationId xmlns:a16="http://schemas.microsoft.com/office/drawing/2014/main" id="{97D07DB7-7D51-724B-BE5C-77B45E5DB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3"/>
            <a:ext cx="7102475" cy="1139825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/>
          <a:p>
            <a:r>
              <a:rPr lang="en-GB" dirty="0"/>
              <a:t>Click to edit Master title style</a:t>
            </a:r>
            <a:endParaRPr lang="en-BG" dirty="0"/>
          </a:p>
        </p:txBody>
      </p:sp>
    </p:spTree>
    <p:extLst>
      <p:ext uri="{BB962C8B-B14F-4D97-AF65-F5344CB8AC3E}">
        <p14:creationId xmlns:p14="http://schemas.microsoft.com/office/powerpoint/2010/main" val="391525483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3561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7"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4B9DAEF0-F449-2F4B-9FE0-C62CD05C1E2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2313" y="1813034"/>
            <a:ext cx="5278437" cy="442425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ECCA4817-D476-A842-8FDC-9C22585C95E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78550" y="1813034"/>
            <a:ext cx="5291138" cy="442425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1E54A24-0A79-4645-95BB-872276B99F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3600" y="538163"/>
            <a:ext cx="10746088" cy="1139825"/>
          </a:xfrm>
        </p:spPr>
        <p:txBody>
          <a:bodyPr vert="horz"/>
          <a:lstStyle/>
          <a:p>
            <a:r>
              <a:rPr lang="en-GB" dirty="0"/>
              <a:t>Click to edit Master title style</a:t>
            </a:r>
            <a:br>
              <a:rPr lang="en-GB" dirty="0"/>
            </a:br>
            <a:r>
              <a:rPr lang="en-GB" dirty="0"/>
              <a:t>Two Column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96392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13829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1"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FB79C824-3AE1-E541-A3DA-8F45803017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2314" y="1813034"/>
            <a:ext cx="3459162" cy="442425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b="0" i="0" spc="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77800" indent="-177800">
              <a:spcAft>
                <a:spcPts val="0"/>
              </a:spcAft>
              <a:buFont typeface="Arial" panose="020B0604020202020204" pitchFamily="34" charset="0"/>
              <a:buChar char="•"/>
              <a:tabLst/>
              <a:defRPr spc="0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spcAft>
                <a:spcPts val="0"/>
              </a:spcAft>
              <a:defRPr spc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spcAft>
                <a:spcPts val="0"/>
              </a:spcAft>
              <a:defRPr spc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spcAft>
                <a:spcPts val="0"/>
              </a:spcAft>
              <a:defRPr spc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C6C7AE6A-40F2-B14C-8195-718A8BE38185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359275" y="1813034"/>
            <a:ext cx="3459162" cy="442425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Aft>
                <a:spcPts val="600"/>
              </a:spcAft>
              <a:defRPr b="0" i="0" spc="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77800" indent="-177800">
              <a:spcAft>
                <a:spcPts val="0"/>
              </a:spcAft>
              <a:buFont typeface="Arial" panose="020B0604020202020204" pitchFamily="34" charset="0"/>
              <a:buChar char="•"/>
              <a:tabLst/>
              <a:defRPr spc="0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spcAft>
                <a:spcPts val="600"/>
              </a:spcAft>
              <a:defRPr spc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spcAft>
                <a:spcPts val="600"/>
              </a:spcAft>
              <a:defRPr spc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spcAft>
                <a:spcPts val="600"/>
              </a:spcAft>
              <a:defRPr spc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B5E6116C-F722-9A42-8B83-CF344FCE2644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8002588" y="1813034"/>
            <a:ext cx="3467100" cy="442425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b="0" i="0" spc="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77800" indent="-177800">
              <a:spcAft>
                <a:spcPts val="0"/>
              </a:spcAft>
              <a:buFont typeface="Arial" panose="020B0604020202020204" pitchFamily="34" charset="0"/>
              <a:buChar char="•"/>
              <a:tabLst/>
              <a:defRPr spc="0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spcAft>
                <a:spcPts val="0"/>
              </a:spcAft>
              <a:defRPr spc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spcAft>
                <a:spcPts val="0"/>
              </a:spcAft>
              <a:defRPr spc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spcAft>
                <a:spcPts val="0"/>
              </a:spcAft>
              <a:defRPr spc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B4A0B0-544B-4680-B496-7634409EEF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600" y="538163"/>
            <a:ext cx="10746088" cy="1139825"/>
          </a:xfrm>
        </p:spPr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4658392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82930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5"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3B29C63-2AD6-4DE5-B0A2-CB6E5C4AD9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600" y="538163"/>
            <a:ext cx="10746088" cy="1139825"/>
          </a:xfrm>
        </p:spPr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183390A3-8EBF-7548-9300-842DF6C7B5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2314" y="1813034"/>
            <a:ext cx="2528886" cy="44400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b="0" i="0" spc="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77800" indent="-177800">
              <a:spcAft>
                <a:spcPts val="0"/>
              </a:spcAft>
              <a:buFont typeface="Arial" panose="020B0604020202020204" pitchFamily="34" charset="0"/>
              <a:buChar char="•"/>
              <a:tabLst/>
              <a:defRPr spc="0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spcAft>
                <a:spcPts val="0"/>
              </a:spcAft>
              <a:defRPr spc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spcAft>
                <a:spcPts val="0"/>
              </a:spcAft>
              <a:defRPr spc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spcAft>
                <a:spcPts val="0"/>
              </a:spcAft>
              <a:defRPr spc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FFCEF170-5852-754F-B923-8DC0C677A0C3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3459726" y="1813034"/>
            <a:ext cx="2541024" cy="44400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b="0" i="0" spc="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77800" indent="-177800">
              <a:spcAft>
                <a:spcPts val="0"/>
              </a:spcAft>
              <a:buFont typeface="Arial" panose="020B0604020202020204" pitchFamily="34" charset="0"/>
              <a:buChar char="•"/>
              <a:tabLst/>
              <a:defRPr spc="0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spcAft>
                <a:spcPts val="0"/>
              </a:spcAft>
              <a:defRPr spc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spcAft>
                <a:spcPts val="0"/>
              </a:spcAft>
              <a:defRPr spc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spcAft>
                <a:spcPts val="0"/>
              </a:spcAft>
              <a:defRPr spc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C6A773BA-91F7-D14F-AC1A-6F6DCA36B7AE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179776" y="1813034"/>
            <a:ext cx="2553061" cy="44400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b="0" i="0" spc="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77800" indent="-177800">
              <a:spcAft>
                <a:spcPts val="0"/>
              </a:spcAft>
              <a:buFont typeface="Arial" panose="020B0604020202020204" pitchFamily="34" charset="0"/>
              <a:buChar char="•"/>
              <a:tabLst/>
              <a:defRPr spc="0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spcAft>
                <a:spcPts val="0"/>
              </a:spcAft>
              <a:defRPr spc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spcAft>
                <a:spcPts val="0"/>
              </a:spcAft>
              <a:defRPr spc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spcAft>
                <a:spcPts val="0"/>
              </a:spcAft>
              <a:defRPr spc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5800904C-204D-FB4E-B329-DE06A83BDB00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917188" y="1813034"/>
            <a:ext cx="2553061" cy="44400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b="0" i="0" spc="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77800" indent="-177800">
              <a:spcAft>
                <a:spcPts val="0"/>
              </a:spcAft>
              <a:buFont typeface="Arial" panose="020B0604020202020204" pitchFamily="34" charset="0"/>
              <a:buChar char="•"/>
              <a:tabLst/>
              <a:defRPr spc="0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spcAft>
                <a:spcPts val="0"/>
              </a:spcAft>
              <a:defRPr spc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spcAft>
                <a:spcPts val="0"/>
              </a:spcAft>
              <a:defRPr spc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spcAft>
                <a:spcPts val="0"/>
              </a:spcAft>
              <a:defRPr spc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4683824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69951F-ED4C-C940-B5BF-D5511A5CD9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3"/>
            <a:ext cx="8010525" cy="909637"/>
          </a:xfrm>
        </p:spPr>
        <p:txBody>
          <a:bodyPr tIns="1080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BG" dirty="0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5F93B13-79C7-D043-BA6B-61F781D9B5F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2313" y="1677988"/>
            <a:ext cx="5278437" cy="455611"/>
          </a:xfrm>
        </p:spPr>
        <p:txBody>
          <a:bodyPr/>
          <a:lstStyle>
            <a:lvl1pPr>
              <a:defRPr b="1" i="0" spc="-1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Topic 1</a:t>
            </a:r>
            <a:endParaRPr lang="en-BG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CC55D09-8538-334E-A1E1-71B22D8027B5}"/>
              </a:ext>
            </a:extLst>
          </p:cNvPr>
          <p:cNvSpPr txBox="1"/>
          <p:nvPr userDrawn="1"/>
        </p:nvSpPr>
        <p:spPr>
          <a:xfrm>
            <a:off x="2151529" y="1882588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BG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B67CE013-E7C8-B849-A3FC-A0574A8A9A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7283" y="1677988"/>
            <a:ext cx="5278437" cy="455611"/>
          </a:xfrm>
        </p:spPr>
        <p:txBody>
          <a:bodyPr/>
          <a:lstStyle>
            <a:lvl1pPr>
              <a:defRPr b="1" i="0" spc="-1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Topic 2</a:t>
            </a:r>
            <a:endParaRPr lang="en-BG" dirty="0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061534B8-F977-AB43-AC19-A2B2F8517B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2314" y="2133600"/>
            <a:ext cx="5272404" cy="41036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b="0" i="0" spc="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77800" indent="-177800">
              <a:spcAft>
                <a:spcPts val="0"/>
              </a:spcAft>
              <a:buFont typeface="Arial" panose="020B0604020202020204" pitchFamily="34" charset="0"/>
              <a:buChar char="•"/>
              <a:tabLst/>
              <a:defRPr spc="0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spcAft>
                <a:spcPts val="0"/>
              </a:spcAft>
              <a:defRPr spc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spcAft>
                <a:spcPts val="0"/>
              </a:spcAft>
              <a:defRPr spc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spcAft>
                <a:spcPts val="0"/>
              </a:spcAft>
              <a:defRPr spc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1E786BD1-64FB-684B-9732-41BBC9CE78AC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6197352" y="2133600"/>
            <a:ext cx="5272335" cy="41036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b="0" i="0" spc="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77800" indent="-177800">
              <a:spcAft>
                <a:spcPts val="0"/>
              </a:spcAft>
              <a:buFont typeface="Arial" panose="020B0604020202020204" pitchFamily="34" charset="0"/>
              <a:buChar char="•"/>
              <a:tabLst/>
              <a:defRPr spc="0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spcAft>
                <a:spcPts val="0"/>
              </a:spcAft>
              <a:defRPr spc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spcAft>
                <a:spcPts val="0"/>
              </a:spcAft>
              <a:defRPr spc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spcAft>
                <a:spcPts val="0"/>
              </a:spcAft>
              <a:defRPr spc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919454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69951F-ED4C-C940-B5BF-D5511A5CD9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3"/>
            <a:ext cx="7102475" cy="909637"/>
          </a:xfrm>
        </p:spPr>
        <p:txBody>
          <a:bodyPr tIns="1080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BG" dirty="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14E6BE96-7B0A-F94A-B96E-1C7E0D03F31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2313" y="2226366"/>
            <a:ext cx="3459162" cy="4010922"/>
          </a:xfrm>
        </p:spPr>
        <p:txBody>
          <a:bodyPr tIns="36000"/>
          <a:lstStyle>
            <a:lvl1pPr marL="0" indent="0">
              <a:lnSpc>
                <a:spcPct val="120000"/>
              </a:lnSpc>
              <a:buNone/>
              <a:defRPr sz="2000" b="0" i="0" spc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ontrary to popular belief, Lorem Ipsum is not simply random text. It has roots in a piece of classical Latin literature from 45 BC, making it over 2000 years old.</a:t>
            </a:r>
            <a:endParaRPr lang="en-BG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9F9D9998-0CE0-0441-A69C-96949640553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9275" y="2226366"/>
            <a:ext cx="3467099" cy="4010922"/>
          </a:xfrm>
        </p:spPr>
        <p:txBody>
          <a:bodyPr tIns="36000"/>
          <a:lstStyle>
            <a:lvl1pPr marL="0" indent="0">
              <a:lnSpc>
                <a:spcPct val="120000"/>
              </a:lnSpc>
              <a:buNone/>
              <a:defRPr sz="2000" b="0" i="0" spc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ontrary to popular belief, Lorem Ipsum is not simply random text. It has roots in a piece of classical Latin literature from 45 BC, making it over 2000 years old</a:t>
            </a:r>
            <a:endParaRPr lang="en-BG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4C25D13-53AB-804E-8F48-9FEEE4C8F85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02588" y="2226366"/>
            <a:ext cx="3467099" cy="4010922"/>
          </a:xfrm>
        </p:spPr>
        <p:txBody>
          <a:bodyPr tIns="36000"/>
          <a:lstStyle>
            <a:lvl1pPr marL="0" indent="0">
              <a:lnSpc>
                <a:spcPct val="120000"/>
              </a:lnSpc>
              <a:buNone/>
              <a:defRPr sz="2000" b="0" i="0" spc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ontrary to popular belief, Lorem Ipsum is not simply random text. It has roots in a piece of classical Latin literature from 45 BC, making it over 2000 years old.</a:t>
            </a:r>
            <a:endParaRPr lang="en-BG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726DDAF-094D-974B-82E0-4E14EC03BAE4}"/>
              </a:ext>
            </a:extLst>
          </p:cNvPr>
          <p:cNvSpPr txBox="1"/>
          <p:nvPr userDrawn="1"/>
        </p:nvSpPr>
        <p:spPr>
          <a:xfrm>
            <a:off x="2624866" y="1947134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291E0E34-AD4F-0F47-AF74-1B26AAD2B2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2313" y="1568658"/>
            <a:ext cx="7102475" cy="474150"/>
          </a:xfrm>
        </p:spPr>
        <p:txBody>
          <a:bodyPr/>
          <a:lstStyle>
            <a:lvl1pPr marL="0" indent="0">
              <a:buNone/>
              <a:defRPr b="0" i="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 err="1"/>
              <a:t>Subheadline</a:t>
            </a:r>
            <a:endParaRPr lang="en-BG" dirty="0"/>
          </a:p>
        </p:txBody>
      </p:sp>
    </p:spTree>
    <p:extLst>
      <p:ext uri="{BB962C8B-B14F-4D97-AF65-F5344CB8AC3E}">
        <p14:creationId xmlns:p14="http://schemas.microsoft.com/office/powerpoint/2010/main" val="413731295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69951F-ED4C-C940-B5BF-D5511A5CD9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2314" y="538163"/>
            <a:ext cx="7869894" cy="1139825"/>
          </a:xfrm>
        </p:spPr>
        <p:txBody>
          <a:bodyPr tIns="108000"/>
          <a:lstStyle/>
          <a:p>
            <a:r>
              <a:rPr lang="en-GB" dirty="0"/>
              <a:t>Simple Bullet List</a:t>
            </a:r>
            <a:endParaRPr lang="en-BG" dirty="0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4B784CA2-1AA9-3A4E-A4C7-B24AF58604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2312" y="1805152"/>
            <a:ext cx="7869895" cy="443213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85750" indent="-285750">
              <a:spcAft>
                <a:spcPts val="600"/>
              </a:spcAft>
              <a:buClr>
                <a:srgbClr val="2172CE"/>
              </a:buClr>
              <a:buFont typeface="Arial" panose="020B0604020202020204" pitchFamily="34" charset="0"/>
              <a:buChar char="•"/>
              <a:defRPr/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marL="285750" indent="-285750">
              <a:buClr>
                <a:srgbClr val="2172CE"/>
              </a:buClr>
              <a:buFont typeface="Arial" panose="020B0604020202020204" pitchFamily="34" charset="0"/>
              <a:buChar char="•"/>
            </a:pPr>
            <a:r>
              <a:rPr lang="en-GB" dirty="0"/>
              <a:t>Contrary to popular belief</a:t>
            </a:r>
          </a:p>
          <a:p>
            <a:pPr marL="285750" indent="-285750">
              <a:buClr>
                <a:srgbClr val="2172CE"/>
              </a:buClr>
              <a:buFont typeface="Arial" panose="020B0604020202020204" pitchFamily="34" charset="0"/>
              <a:buChar char="•"/>
            </a:pPr>
            <a:r>
              <a:rPr lang="en-GB" dirty="0"/>
              <a:t>Lorem Ipsum is not simply random text</a:t>
            </a:r>
          </a:p>
          <a:p>
            <a:pPr marL="285750" indent="-285750">
              <a:buClr>
                <a:srgbClr val="2172CE"/>
              </a:buClr>
              <a:buFont typeface="Arial" panose="020B0604020202020204" pitchFamily="34" charset="0"/>
              <a:buChar char="•"/>
            </a:pPr>
            <a:r>
              <a:rPr lang="en-GB" dirty="0"/>
              <a:t>It has roots in a piece of classical Latin literature from 45 BC </a:t>
            </a:r>
          </a:p>
          <a:p>
            <a:pPr marL="285750" indent="-285750">
              <a:buClr>
                <a:srgbClr val="2172CE"/>
              </a:buClr>
              <a:buFont typeface="Arial" panose="020B0604020202020204" pitchFamily="34" charset="0"/>
              <a:buChar char="•"/>
            </a:pPr>
            <a:r>
              <a:rPr lang="en-GB" dirty="0"/>
              <a:t>Making it over 2000 years old. Richard McClintock</a:t>
            </a:r>
          </a:p>
          <a:p>
            <a:pPr marL="285750" indent="-285750">
              <a:buClr>
                <a:srgbClr val="2172CE"/>
              </a:buClr>
              <a:buFont typeface="Arial" panose="020B0604020202020204" pitchFamily="34" charset="0"/>
              <a:buChar char="•"/>
            </a:pPr>
            <a:r>
              <a:rPr lang="en-GB" dirty="0"/>
              <a:t>Latin professor at Hampden-Sydney College in Virginia </a:t>
            </a:r>
          </a:p>
        </p:txBody>
      </p:sp>
    </p:spTree>
    <p:extLst>
      <p:ext uri="{BB962C8B-B14F-4D97-AF65-F5344CB8AC3E}">
        <p14:creationId xmlns:p14="http://schemas.microsoft.com/office/powerpoint/2010/main" val="113674627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text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487D29E-9CF3-5846-A0A6-ACDFF18C4847}"/>
              </a:ext>
            </a:extLst>
          </p:cNvPr>
          <p:cNvSpPr/>
          <p:nvPr userDrawn="1"/>
        </p:nvSpPr>
        <p:spPr>
          <a:xfrm>
            <a:off x="6191250" y="0"/>
            <a:ext cx="6000750" cy="6858000"/>
          </a:xfrm>
          <a:prstGeom prst="rect">
            <a:avLst/>
          </a:prstGeom>
          <a:solidFill>
            <a:schemeClr val="tx2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G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6817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66"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>
            <a:extLst>
              <a:ext uri="{FF2B5EF4-FFF2-40B4-BE49-F238E27FC236}">
                <a16:creationId xmlns:a16="http://schemas.microsoft.com/office/drawing/2014/main" id="{46A8BB2B-AE4D-BB44-A1A2-79A9676470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3"/>
            <a:ext cx="5278437" cy="1139825"/>
          </a:xfrm>
        </p:spPr>
        <p:txBody>
          <a:bodyPr tIns="1080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BG" dirty="0"/>
          </a:p>
        </p:txBody>
      </p:sp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C0BB56D3-44B0-46C4-805C-637BCD9D58C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1725" y="0"/>
            <a:ext cx="6010275" cy="6858000"/>
          </a:xfrm>
          <a:prstGeom prst="rect">
            <a:avLst/>
          </a:prstGeom>
        </p:spPr>
      </p:pic>
      <p:pic>
        <p:nvPicPr>
          <p:cNvPr id="12" name="Picture 2">
            <a:extLst>
              <a:ext uri="{FF2B5EF4-FFF2-40B4-BE49-F238E27FC236}">
                <a16:creationId xmlns:a16="http://schemas.microsoft.com/office/drawing/2014/main" id="{7B56C2E7-8311-4B5A-A6E3-5CD91A5A796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94075" y="6453499"/>
            <a:ext cx="939600" cy="217948"/>
          </a:xfrm>
          <a:prstGeom prst="rect">
            <a:avLst/>
          </a:prstGeom>
        </p:spPr>
      </p:pic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C6A8276B-0F06-604A-9D22-AA9DC5D23B0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2313" y="1808922"/>
            <a:ext cx="5278437" cy="442836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1D9C409-6129-524A-A370-83CF6434D125}"/>
              </a:ext>
            </a:extLst>
          </p:cNvPr>
          <p:cNvSpPr txBox="1"/>
          <p:nvPr userDrawn="1"/>
        </p:nvSpPr>
        <p:spPr>
          <a:xfrm>
            <a:off x="2833124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</a:t>
            </a:r>
            <a:r>
              <a:rPr lang="en-US" sz="600" b="0" i="0" spc="0" baseline="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67068077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text half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6D0A292-1CC7-4725-955D-6F0D47183E18}"/>
              </a:ext>
            </a:extLst>
          </p:cNvPr>
          <p:cNvSpPr/>
          <p:nvPr userDrawn="1"/>
        </p:nvSpPr>
        <p:spPr>
          <a:xfrm>
            <a:off x="6178550" y="0"/>
            <a:ext cx="6013450" cy="6858000"/>
          </a:xfrm>
          <a:prstGeom prst="rect">
            <a:avLst/>
          </a:prstGeom>
          <a:solidFill>
            <a:schemeClr val="accent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G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48689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14"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348BA764-5690-C74C-98C8-5AD362BFC8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3"/>
            <a:ext cx="5278437" cy="1139825"/>
          </a:xfrm>
        </p:spPr>
        <p:txBody>
          <a:bodyPr tIns="1080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BG" dirty="0"/>
          </a:p>
        </p:txBody>
      </p:sp>
      <p:pic>
        <p:nvPicPr>
          <p:cNvPr id="8" name="Picture 7" descr="Background pattern&#10;&#10;Description automatically generated">
            <a:extLst>
              <a:ext uri="{FF2B5EF4-FFF2-40B4-BE49-F238E27FC236}">
                <a16:creationId xmlns:a16="http://schemas.microsoft.com/office/drawing/2014/main" id="{A13562EE-EF99-40E8-B245-0897306FCB8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1725" y="0"/>
            <a:ext cx="6010275" cy="6858000"/>
          </a:xfrm>
          <a:prstGeom prst="rect">
            <a:avLst/>
          </a:prstGeom>
        </p:spPr>
      </p:pic>
      <p:pic>
        <p:nvPicPr>
          <p:cNvPr id="19" name="Picture 2">
            <a:extLst>
              <a:ext uri="{FF2B5EF4-FFF2-40B4-BE49-F238E27FC236}">
                <a16:creationId xmlns:a16="http://schemas.microsoft.com/office/drawing/2014/main" id="{1B465833-A1E4-4E81-8B46-84ECCC6972B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94075" y="6453499"/>
            <a:ext cx="939600" cy="217948"/>
          </a:xfrm>
          <a:prstGeom prst="rect">
            <a:avLst/>
          </a:prstGeom>
        </p:spPr>
      </p:pic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89818020-1C0A-6F44-B4B9-C417A1D0F2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2313" y="1808922"/>
            <a:ext cx="5278437" cy="442836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5982FC7-44A3-9448-8DC9-32DD283EE71D}"/>
              </a:ext>
            </a:extLst>
          </p:cNvPr>
          <p:cNvSpPr txBox="1"/>
          <p:nvPr userDrawn="1"/>
        </p:nvSpPr>
        <p:spPr>
          <a:xfrm>
            <a:off x="2833124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</a:t>
            </a:r>
            <a:r>
              <a:rPr lang="en-US" sz="600" b="0" i="0" spc="0" baseline="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3116491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9A3E233-1134-EA42-BC96-EE2143559B7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G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2" name="Picture 21" descr="Background pattern&#10;&#10;Description automatically generated">
            <a:extLst>
              <a:ext uri="{FF2B5EF4-FFF2-40B4-BE49-F238E27FC236}">
                <a16:creationId xmlns:a16="http://schemas.microsoft.com/office/drawing/2014/main" id="{0AA7A2AD-DF24-40EA-A53E-3386C69575C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1763375" cy="6858000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0078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54" name="think-cell Slide" r:id="rId5" imgW="349" imgH="349" progId="TCLayout.ActiveDocument.1">
                  <p:embed/>
                </p:oleObj>
              </mc:Choice>
              <mc:Fallback>
                <p:oleObj name="think-cell Slide" r:id="rId5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3">
            <a:extLst>
              <a:ext uri="{FF2B5EF4-FFF2-40B4-BE49-F238E27FC236}">
                <a16:creationId xmlns:a16="http://schemas.microsoft.com/office/drawing/2014/main" id="{A41AE411-511D-8146-8417-A7B559E66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0641" y="3736975"/>
            <a:ext cx="5261778" cy="1383817"/>
          </a:xfrm>
          <a:prstGeom prst="rect">
            <a:avLst/>
          </a:prstGeom>
        </p:spPr>
        <p:txBody>
          <a:bodyPr vert="horz" lIns="0" tIns="108000" rIns="0" bIns="0" anchor="t" anchorCtr="0">
            <a:noAutofit/>
          </a:bodyPr>
          <a:lstStyle>
            <a:lvl1pPr>
              <a:lnSpc>
                <a:spcPts val="3600"/>
              </a:lnSpc>
              <a:defRPr sz="4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Up to</a:t>
            </a:r>
            <a:br>
              <a:rPr lang="en-GB" dirty="0"/>
            </a:br>
            <a:r>
              <a:rPr lang="en-GB" dirty="0"/>
              <a:t>Three </a:t>
            </a:r>
            <a:br>
              <a:rPr lang="en-GB" dirty="0"/>
            </a:br>
            <a:r>
              <a:rPr lang="en-GB" dirty="0"/>
              <a:t>Lines</a:t>
            </a:r>
            <a:endParaRPr lang="en-BG" dirty="0"/>
          </a:p>
        </p:txBody>
      </p:sp>
      <p:pic>
        <p:nvPicPr>
          <p:cNvPr id="12" name="Picture 3">
            <a:extLst>
              <a:ext uri="{FF2B5EF4-FFF2-40B4-BE49-F238E27FC236}">
                <a16:creationId xmlns:a16="http://schemas.microsoft.com/office/drawing/2014/main" id="{5FFB1DD7-A134-4800-A20B-F8CB2D63D44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26315" y="3272915"/>
            <a:ext cx="1342800" cy="311474"/>
          </a:xfrm>
          <a:prstGeom prst="rect">
            <a:avLst/>
          </a:prstGeom>
        </p:spPr>
      </p:pic>
      <p:sp>
        <p:nvSpPr>
          <p:cNvPr id="8" name="Rectangle 6">
            <a:extLst>
              <a:ext uri="{FF2B5EF4-FFF2-40B4-BE49-F238E27FC236}">
                <a16:creationId xmlns:a16="http://schemas.microsoft.com/office/drawing/2014/main" id="{EC20BF15-B521-4443-B82F-AD15675E6FEF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722312" y="5273378"/>
            <a:ext cx="5278437" cy="441487"/>
          </a:xfrm>
          <a:prstGeom prst="rect">
            <a:avLst/>
          </a:prstGeom>
          <a:ln algn="ctr"/>
        </p:spPr>
        <p:txBody>
          <a:bodyPr lIns="0" tIns="0" rIns="0" bIns="0" anchor="ctr" anchorCtr="0"/>
          <a:lstStyle>
            <a:lvl1pPr marL="0" indent="0">
              <a:buClrTx/>
              <a:buFontTx/>
              <a:buNone/>
              <a:defRPr sz="2400" i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r>
              <a:rPr lang="en-US" dirty="0"/>
              <a:t>Sub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95278084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8726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58"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348BA764-5690-C74C-98C8-5AD362BFC8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3"/>
            <a:ext cx="5278437" cy="1139825"/>
          </a:xfrm>
        </p:spPr>
        <p:txBody>
          <a:bodyPr tIns="1080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BG" dirty="0"/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D214D3DB-DB34-F441-B966-C041056B089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198748" y="0"/>
            <a:ext cx="5993252" cy="6858000"/>
          </a:xfrm>
          <a:solidFill>
            <a:schemeClr val="bg2"/>
          </a:solidFill>
        </p:spPr>
        <p:txBody>
          <a:bodyPr vert="horz" lIns="91440" tIns="72000" rIns="91440" bIns="756000" rtlCol="0" anchor="ctr">
            <a:noAutofit/>
          </a:bodyPr>
          <a:lstStyle>
            <a:lvl1pPr>
              <a:defRPr lang="en-US" sz="18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algn="ctr"/>
            <a:endParaRPr lang="en-US" dirty="0"/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5B3F9C52-3A71-4524-8B14-37E73BA412E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494075" y="6453499"/>
            <a:ext cx="939600" cy="217948"/>
          </a:xfrm>
          <a:prstGeom prst="rect">
            <a:avLst/>
          </a:prstGeom>
        </p:spPr>
      </p:pic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798BE631-707E-324E-A381-F3D99D052E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2313" y="1808922"/>
            <a:ext cx="5278437" cy="442836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8CB971A-E2FD-954D-BF76-66E98685F3A4}"/>
              </a:ext>
            </a:extLst>
          </p:cNvPr>
          <p:cNvSpPr txBox="1"/>
          <p:nvPr userDrawn="1"/>
        </p:nvSpPr>
        <p:spPr>
          <a:xfrm>
            <a:off x="2833124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</a:t>
            </a:r>
            <a:r>
              <a:rPr lang="en-US" sz="600" b="0" i="0" spc="0" baseline="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04846299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Slid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0044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1"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348BA764-5690-C74C-98C8-5AD362BFC8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91252" y="538163"/>
            <a:ext cx="5278437" cy="1139825"/>
          </a:xfrm>
        </p:spPr>
        <p:txBody>
          <a:bodyPr tIns="1080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BG" dirty="0"/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D214D3DB-DB34-F441-B966-C041056B089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978085" cy="6858000"/>
          </a:xfrm>
          <a:solidFill>
            <a:schemeClr val="bg2"/>
          </a:solidFill>
        </p:spPr>
        <p:txBody>
          <a:bodyPr vert="horz" lIns="91440" tIns="72000" rIns="91440" bIns="756000" rtlCol="0" anchor="ctr">
            <a:noAutofit/>
          </a:bodyPr>
          <a:lstStyle>
            <a:lvl1pPr>
              <a:defRPr lang="en-US" sz="18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algn="ctr"/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CCB16D7C-13E7-8F44-B567-E0CB454B81BD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0" i="0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0" i="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6D956066-0822-7C4E-B1F5-A5FF044796A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88767" y="1808922"/>
            <a:ext cx="5278437" cy="442836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48103B8-912B-6840-91F6-51424D8F16B3}"/>
              </a:ext>
            </a:extLst>
          </p:cNvPr>
          <p:cNvSpPr txBox="1"/>
          <p:nvPr userDrawn="1"/>
        </p:nvSpPr>
        <p:spPr>
          <a:xfrm>
            <a:off x="6178550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</a:t>
            </a:r>
            <a:r>
              <a:rPr lang="en-US" sz="600" b="0" i="0" spc="0" baseline="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24043554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 descr="Background pattern&#10;&#10;Description automatically generated">
            <a:extLst>
              <a:ext uri="{FF2B5EF4-FFF2-40B4-BE49-F238E27FC236}">
                <a16:creationId xmlns:a16="http://schemas.microsoft.com/office/drawing/2014/main" id="{6C946DA6-3C38-45FB-884C-BC8FEC522B9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010275" cy="6858000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1393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38" name="think-cell Slide" r:id="rId5" imgW="349" imgH="349" progId="TCLayout.ActiveDocument.1">
                  <p:embed/>
                </p:oleObj>
              </mc:Choice>
              <mc:Fallback>
                <p:oleObj name="think-cell Slide" r:id="rId5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aphic 10">
            <a:extLst>
              <a:ext uri="{FF2B5EF4-FFF2-40B4-BE49-F238E27FC236}">
                <a16:creationId xmlns:a16="http://schemas.microsoft.com/office/drawing/2014/main" id="{3A6E4564-0AFD-394C-86C5-9468022082D4}"/>
              </a:ext>
            </a:extLst>
          </p:cNvPr>
          <p:cNvGrpSpPr/>
          <p:nvPr userDrawn="1"/>
        </p:nvGrpSpPr>
        <p:grpSpPr>
          <a:xfrm>
            <a:off x="6178550" y="538163"/>
            <a:ext cx="2554288" cy="1464044"/>
            <a:chOff x="7355176" y="1247511"/>
            <a:chExt cx="2101340" cy="1204427"/>
          </a:xfrm>
        </p:grpSpPr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4E94DD7A-9189-4548-B3D7-D71AED474814}"/>
                </a:ext>
              </a:extLst>
            </p:cNvPr>
            <p:cNvSpPr/>
            <p:nvPr/>
          </p:nvSpPr>
          <p:spPr>
            <a:xfrm>
              <a:off x="7352293" y="1247383"/>
              <a:ext cx="999261" cy="1205383"/>
            </a:xfrm>
            <a:custGeom>
              <a:avLst/>
              <a:gdLst>
                <a:gd name="connsiteX0" fmla="*/ 501072 w 999261"/>
                <a:gd name="connsiteY0" fmla="*/ 128 h 1205383"/>
                <a:gd name="connsiteX1" fmla="*/ 9 w 999261"/>
                <a:gd name="connsiteY1" fmla="*/ 494325 h 1205383"/>
                <a:gd name="connsiteX2" fmla="*/ 495324 w 999261"/>
                <a:gd name="connsiteY2" fmla="*/ 994258 h 1205383"/>
                <a:gd name="connsiteX3" fmla="*/ 495324 w 999261"/>
                <a:gd name="connsiteY3" fmla="*/ 1205383 h 1205383"/>
                <a:gd name="connsiteX4" fmla="*/ 838884 w 999261"/>
                <a:gd name="connsiteY4" fmla="*/ 862408 h 1205383"/>
                <a:gd name="connsiteX5" fmla="*/ 867242 w 999261"/>
                <a:gd name="connsiteY5" fmla="*/ 160023 h 1205383"/>
                <a:gd name="connsiteX6" fmla="*/ 501072 w 999261"/>
                <a:gd name="connsiteY6" fmla="*/ 0 h 1205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9261" h="1205383">
                  <a:moveTo>
                    <a:pt x="501072" y="128"/>
                  </a:moveTo>
                  <a:cubicBezTo>
                    <a:pt x="225931" y="-1459"/>
                    <a:pt x="1599" y="219805"/>
                    <a:pt x="9" y="494325"/>
                  </a:cubicBezTo>
                  <a:cubicBezTo>
                    <a:pt x="-1582" y="768845"/>
                    <a:pt x="220183" y="992671"/>
                    <a:pt x="495324" y="994258"/>
                  </a:cubicBezTo>
                  <a:lnTo>
                    <a:pt x="495324" y="1205383"/>
                  </a:lnTo>
                  <a:lnTo>
                    <a:pt x="838884" y="862408"/>
                  </a:lnTo>
                  <a:cubicBezTo>
                    <a:pt x="1041098" y="676263"/>
                    <a:pt x="1053808" y="361793"/>
                    <a:pt x="867242" y="160023"/>
                  </a:cubicBezTo>
                  <a:cubicBezTo>
                    <a:pt x="772905" y="58016"/>
                    <a:pt x="640170" y="0"/>
                    <a:pt x="501072" y="0"/>
                  </a:cubicBezTo>
                  <a:close/>
                </a:path>
              </a:pathLst>
            </a:custGeom>
            <a:solidFill>
              <a:schemeClr val="accent5"/>
            </a:solidFill>
            <a:ln w="6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BG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CDEC9423-D3E3-AC4E-8565-1B8DA4881327}"/>
                </a:ext>
              </a:extLst>
            </p:cNvPr>
            <p:cNvSpPr/>
            <p:nvPr/>
          </p:nvSpPr>
          <p:spPr>
            <a:xfrm>
              <a:off x="8460710" y="1247606"/>
              <a:ext cx="996380" cy="1205223"/>
            </a:xfrm>
            <a:custGeom>
              <a:avLst/>
              <a:gdLst>
                <a:gd name="connsiteX0" fmla="*/ 996380 w 996380"/>
                <a:gd name="connsiteY0" fmla="*/ 497033 h 1205223"/>
                <a:gd name="connsiteX1" fmla="*/ 498126 w 996380"/>
                <a:gd name="connsiteY1" fmla="*/ 0 h 1205223"/>
                <a:gd name="connsiteX2" fmla="*/ 0 w 996380"/>
                <a:gd name="connsiteY2" fmla="*/ 497103 h 1205223"/>
                <a:gd name="connsiteX3" fmla="*/ 492378 w 996380"/>
                <a:gd name="connsiteY3" fmla="*/ 994098 h 1205223"/>
                <a:gd name="connsiteX4" fmla="*/ 492378 w 996380"/>
                <a:gd name="connsiteY4" fmla="*/ 1205224 h 1205223"/>
                <a:gd name="connsiteX5" fmla="*/ 836001 w 996380"/>
                <a:gd name="connsiteY5" fmla="*/ 862440 h 1205223"/>
                <a:gd name="connsiteX6" fmla="*/ 996380 w 996380"/>
                <a:gd name="connsiteY6" fmla="*/ 497033 h 120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6380" h="1205223">
                  <a:moveTo>
                    <a:pt x="996380" y="497033"/>
                  </a:moveTo>
                  <a:cubicBezTo>
                    <a:pt x="996380" y="222513"/>
                    <a:pt x="773280" y="-19"/>
                    <a:pt x="498126" y="0"/>
                  </a:cubicBezTo>
                  <a:cubicBezTo>
                    <a:pt x="223036" y="19"/>
                    <a:pt x="0" y="222577"/>
                    <a:pt x="0" y="497103"/>
                  </a:cubicBezTo>
                  <a:cubicBezTo>
                    <a:pt x="0" y="769348"/>
                    <a:pt x="219523" y="990925"/>
                    <a:pt x="492378" y="994098"/>
                  </a:cubicBezTo>
                  <a:lnTo>
                    <a:pt x="492378" y="1205224"/>
                  </a:lnTo>
                  <a:lnTo>
                    <a:pt x="836001" y="862440"/>
                  </a:lnTo>
                  <a:cubicBezTo>
                    <a:pt x="938386" y="768399"/>
                    <a:pt x="996508" y="635861"/>
                    <a:pt x="996380" y="497033"/>
                  </a:cubicBezTo>
                  <a:close/>
                </a:path>
              </a:pathLst>
            </a:custGeom>
            <a:solidFill>
              <a:schemeClr val="accent5"/>
            </a:solidFill>
            <a:ln w="6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BG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0589BE5-6A57-8F4D-9D8C-C52E1A56647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78551" y="2133601"/>
            <a:ext cx="5291138" cy="3201988"/>
          </a:xfrm>
        </p:spPr>
        <p:txBody>
          <a:bodyPr tIns="108000"/>
          <a:lstStyle>
            <a:lvl1pPr marL="0" indent="0">
              <a:lnSpc>
                <a:spcPts val="3600"/>
              </a:lnSpc>
              <a:buNone/>
              <a:defRPr sz="4000" b="1" spc="-1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Quote Slide, Enter Quote Here.”</a:t>
            </a:r>
          </a:p>
          <a:p>
            <a:pPr lvl="0"/>
            <a:endParaRPr lang="en-GB" dirty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615FBD6B-2193-5748-97C2-9D65081F37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78551" y="5584345"/>
            <a:ext cx="5297852" cy="414323"/>
          </a:xfrm>
        </p:spPr>
        <p:txBody>
          <a:bodyPr tIns="36000" anchor="ctr" anchorCtr="0">
            <a:noAutofit/>
          </a:bodyPr>
          <a:lstStyle>
            <a:lvl1pPr marL="0" indent="0" algn="l">
              <a:lnSpc>
                <a:spcPts val="1800"/>
              </a:lnSpc>
              <a:buNone/>
              <a:defRPr sz="2000" b="1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3F18DBE1-9B92-D54B-A7D7-214D918E2C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78551" y="5998670"/>
            <a:ext cx="5297852" cy="321052"/>
          </a:xfrm>
        </p:spPr>
        <p:txBody>
          <a:bodyPr tIns="72000" anchor="t">
            <a:noAutofit/>
          </a:bodyPr>
          <a:lstStyle>
            <a:lvl1pPr marL="0" indent="0" algn="l">
              <a:lnSpc>
                <a:spcPts val="1800"/>
              </a:lnSpc>
              <a:buNone/>
              <a:defRPr sz="1800" b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795217E5-E444-2F42-BDF3-093FC00C6F30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 dirty="0">
              <a:solidFill>
                <a:schemeClr val="bg1">
                  <a:alpha val="7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1190F6A3-E932-A24A-9953-B1E4E911E0F0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5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2" name="Picture 2">
            <a:extLst>
              <a:ext uri="{FF2B5EF4-FFF2-40B4-BE49-F238E27FC236}">
                <a16:creationId xmlns:a16="http://schemas.microsoft.com/office/drawing/2014/main" id="{D10AF193-AB1A-43AD-A66E-2CD2F8674A5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94075" y="6453499"/>
            <a:ext cx="939600" cy="217948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FB7BD70-621C-CC49-8746-9DC52C4D35B9}"/>
              </a:ext>
            </a:extLst>
          </p:cNvPr>
          <p:cNvSpPr txBox="1"/>
          <p:nvPr userDrawn="1"/>
        </p:nvSpPr>
        <p:spPr>
          <a:xfrm>
            <a:off x="6178550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</a:t>
            </a:r>
            <a:r>
              <a:rPr lang="en-US" sz="600" b="0" i="0" spc="0" baseline="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8412912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with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E4A2CE8B-6C7B-204B-A553-FDFA7E79572A}"/>
              </a:ext>
            </a:extLst>
          </p:cNvPr>
          <p:cNvSpPr/>
          <p:nvPr userDrawn="1"/>
        </p:nvSpPr>
        <p:spPr>
          <a:xfrm>
            <a:off x="6120852" y="0"/>
            <a:ext cx="6071148" cy="6858000"/>
          </a:xfrm>
          <a:prstGeom prst="rect">
            <a:avLst/>
          </a:prstGeom>
          <a:solidFill>
            <a:schemeClr val="tx2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G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85EE20A4-56CA-6E43-ADB3-9DCE7A1E5A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72655" t="20588" r="1" b="52733"/>
          <a:stretch/>
        </p:blipFill>
        <p:spPr>
          <a:xfrm>
            <a:off x="6094088" y="0"/>
            <a:ext cx="6109382" cy="6858000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9281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62" name="think-cell Slide" r:id="rId6" imgW="349" imgH="349" progId="TCLayout.ActiveDocument.1">
                  <p:embed/>
                </p:oleObj>
              </mc:Choice>
              <mc:Fallback>
                <p:oleObj name="think-cell Slide" r:id="rId6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icture Placeholder 13">
            <a:extLst>
              <a:ext uri="{FF2B5EF4-FFF2-40B4-BE49-F238E27FC236}">
                <a16:creationId xmlns:a16="http://schemas.microsoft.com/office/drawing/2014/main" id="{FE70C55F-FA1C-E44F-B935-846720A2D16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109382" cy="6858000"/>
          </a:xfrm>
          <a:solidFill>
            <a:schemeClr val="bg2"/>
          </a:solidFill>
        </p:spPr>
        <p:txBody>
          <a:bodyPr vert="horz" lIns="91440" tIns="72000" rIns="91440" bIns="756000" rtlCol="0" anchor="ctr">
            <a:noAutofit/>
          </a:bodyPr>
          <a:lstStyle>
            <a:lvl1pPr marL="0" indent="0">
              <a:buNone/>
              <a:defRPr lang="en-US" sz="18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algn="ctr"/>
            <a:endParaRPr lang="en-US" dirty="0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8508F250-2EEB-4943-96B7-BE0C29A50BD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78421" y="2133601"/>
            <a:ext cx="4891268" cy="3201988"/>
          </a:xfrm>
        </p:spPr>
        <p:txBody>
          <a:bodyPr tIns="108000"/>
          <a:lstStyle>
            <a:lvl1pPr>
              <a:lnSpc>
                <a:spcPts val="3600"/>
              </a:lnSpc>
              <a:defRPr sz="4000" b="1" spc="-1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Quote Slide, Enter Quote Here.”</a:t>
            </a:r>
          </a:p>
          <a:p>
            <a:pPr lvl="0"/>
            <a:endParaRPr lang="en-GB" dirty="0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72E0827B-6C4F-7648-A12E-9F41C14AEE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78421" y="5571495"/>
            <a:ext cx="4891267" cy="434001"/>
          </a:xfrm>
        </p:spPr>
        <p:txBody>
          <a:bodyPr tIns="36000" anchor="ctr" anchorCtr="0">
            <a:noAutofit/>
          </a:bodyPr>
          <a:lstStyle>
            <a:lvl1pPr marL="0" indent="0" algn="l">
              <a:lnSpc>
                <a:spcPts val="1800"/>
              </a:lnSpc>
              <a:buNone/>
              <a:defRPr sz="20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E20D15AE-8D5B-1F4F-8BD1-2990633572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78421" y="6027738"/>
            <a:ext cx="4891267" cy="315387"/>
          </a:xfrm>
        </p:spPr>
        <p:txBody>
          <a:bodyPr tIns="72000" anchor="t">
            <a:noAutofit/>
          </a:bodyPr>
          <a:lstStyle>
            <a:lvl1pPr marL="0" indent="0" algn="l">
              <a:lnSpc>
                <a:spcPts val="1800"/>
              </a:lnSpc>
              <a:buNone/>
              <a:defRPr sz="1800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CD079D76-E4BD-2D4D-B1D5-65D76184811D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 dirty="0">
              <a:solidFill>
                <a:schemeClr val="bg1">
                  <a:alpha val="7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Slide Number Placeholder 5">
            <a:extLst>
              <a:ext uri="{FF2B5EF4-FFF2-40B4-BE49-F238E27FC236}">
                <a16:creationId xmlns:a16="http://schemas.microsoft.com/office/drawing/2014/main" id="{0C2DE4C0-ADB1-9043-9820-BFB73CFF1A39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5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 dirty="0">
              <a:solidFill>
                <a:schemeClr val="bg1">
                  <a:alpha val="7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Picture 2">
            <a:extLst>
              <a:ext uri="{FF2B5EF4-FFF2-40B4-BE49-F238E27FC236}">
                <a16:creationId xmlns:a16="http://schemas.microsoft.com/office/drawing/2014/main" id="{C636DF12-45AE-4AC3-BCE8-67EFD22A6F6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494075" y="6453499"/>
            <a:ext cx="939600" cy="217948"/>
          </a:xfrm>
          <a:prstGeom prst="rect">
            <a:avLst/>
          </a:prstGeom>
        </p:spPr>
      </p:pic>
      <p:grpSp>
        <p:nvGrpSpPr>
          <p:cNvPr id="28" name="Graphic 10">
            <a:extLst>
              <a:ext uri="{FF2B5EF4-FFF2-40B4-BE49-F238E27FC236}">
                <a16:creationId xmlns:a16="http://schemas.microsoft.com/office/drawing/2014/main" id="{526FF24D-AF59-ED4F-9818-10A139444EF4}"/>
              </a:ext>
            </a:extLst>
          </p:cNvPr>
          <p:cNvGrpSpPr/>
          <p:nvPr userDrawn="1"/>
        </p:nvGrpSpPr>
        <p:grpSpPr>
          <a:xfrm>
            <a:off x="6362700" y="538163"/>
            <a:ext cx="2554288" cy="1464044"/>
            <a:chOff x="7355176" y="1247511"/>
            <a:chExt cx="2101340" cy="1204427"/>
          </a:xfrm>
        </p:grpSpPr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DAC17586-BD49-2B4B-9E87-06EDC1BCCFD0}"/>
                </a:ext>
              </a:extLst>
            </p:cNvPr>
            <p:cNvSpPr/>
            <p:nvPr/>
          </p:nvSpPr>
          <p:spPr>
            <a:xfrm>
              <a:off x="7352293" y="1247383"/>
              <a:ext cx="999261" cy="1205383"/>
            </a:xfrm>
            <a:custGeom>
              <a:avLst/>
              <a:gdLst>
                <a:gd name="connsiteX0" fmla="*/ 501072 w 999261"/>
                <a:gd name="connsiteY0" fmla="*/ 128 h 1205383"/>
                <a:gd name="connsiteX1" fmla="*/ 9 w 999261"/>
                <a:gd name="connsiteY1" fmla="*/ 494325 h 1205383"/>
                <a:gd name="connsiteX2" fmla="*/ 495324 w 999261"/>
                <a:gd name="connsiteY2" fmla="*/ 994258 h 1205383"/>
                <a:gd name="connsiteX3" fmla="*/ 495324 w 999261"/>
                <a:gd name="connsiteY3" fmla="*/ 1205383 h 1205383"/>
                <a:gd name="connsiteX4" fmla="*/ 838884 w 999261"/>
                <a:gd name="connsiteY4" fmla="*/ 862408 h 1205383"/>
                <a:gd name="connsiteX5" fmla="*/ 867242 w 999261"/>
                <a:gd name="connsiteY5" fmla="*/ 160023 h 1205383"/>
                <a:gd name="connsiteX6" fmla="*/ 501072 w 999261"/>
                <a:gd name="connsiteY6" fmla="*/ 0 h 1205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9261" h="1205383">
                  <a:moveTo>
                    <a:pt x="501072" y="128"/>
                  </a:moveTo>
                  <a:cubicBezTo>
                    <a:pt x="225931" y="-1459"/>
                    <a:pt x="1599" y="219805"/>
                    <a:pt x="9" y="494325"/>
                  </a:cubicBezTo>
                  <a:cubicBezTo>
                    <a:pt x="-1582" y="768845"/>
                    <a:pt x="220183" y="992671"/>
                    <a:pt x="495324" y="994258"/>
                  </a:cubicBezTo>
                  <a:lnTo>
                    <a:pt x="495324" y="1205383"/>
                  </a:lnTo>
                  <a:lnTo>
                    <a:pt x="838884" y="862408"/>
                  </a:lnTo>
                  <a:cubicBezTo>
                    <a:pt x="1041098" y="676263"/>
                    <a:pt x="1053808" y="361793"/>
                    <a:pt x="867242" y="160023"/>
                  </a:cubicBezTo>
                  <a:cubicBezTo>
                    <a:pt x="772905" y="58016"/>
                    <a:pt x="640170" y="0"/>
                    <a:pt x="501072" y="0"/>
                  </a:cubicBezTo>
                  <a:close/>
                </a:path>
              </a:pathLst>
            </a:custGeom>
            <a:solidFill>
              <a:schemeClr val="accent5"/>
            </a:solidFill>
            <a:ln w="6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BG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154DE6BB-DC4F-3445-BADE-6D76CC839465}"/>
                </a:ext>
              </a:extLst>
            </p:cNvPr>
            <p:cNvSpPr/>
            <p:nvPr/>
          </p:nvSpPr>
          <p:spPr>
            <a:xfrm>
              <a:off x="8460710" y="1247606"/>
              <a:ext cx="996380" cy="1205223"/>
            </a:xfrm>
            <a:custGeom>
              <a:avLst/>
              <a:gdLst>
                <a:gd name="connsiteX0" fmla="*/ 996380 w 996380"/>
                <a:gd name="connsiteY0" fmla="*/ 497033 h 1205223"/>
                <a:gd name="connsiteX1" fmla="*/ 498126 w 996380"/>
                <a:gd name="connsiteY1" fmla="*/ 0 h 1205223"/>
                <a:gd name="connsiteX2" fmla="*/ 0 w 996380"/>
                <a:gd name="connsiteY2" fmla="*/ 497103 h 1205223"/>
                <a:gd name="connsiteX3" fmla="*/ 492378 w 996380"/>
                <a:gd name="connsiteY3" fmla="*/ 994098 h 1205223"/>
                <a:gd name="connsiteX4" fmla="*/ 492378 w 996380"/>
                <a:gd name="connsiteY4" fmla="*/ 1205224 h 1205223"/>
                <a:gd name="connsiteX5" fmla="*/ 836001 w 996380"/>
                <a:gd name="connsiteY5" fmla="*/ 862440 h 1205223"/>
                <a:gd name="connsiteX6" fmla="*/ 996380 w 996380"/>
                <a:gd name="connsiteY6" fmla="*/ 497033 h 120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6380" h="1205223">
                  <a:moveTo>
                    <a:pt x="996380" y="497033"/>
                  </a:moveTo>
                  <a:cubicBezTo>
                    <a:pt x="996380" y="222513"/>
                    <a:pt x="773280" y="-19"/>
                    <a:pt x="498126" y="0"/>
                  </a:cubicBezTo>
                  <a:cubicBezTo>
                    <a:pt x="223036" y="19"/>
                    <a:pt x="0" y="222577"/>
                    <a:pt x="0" y="497103"/>
                  </a:cubicBezTo>
                  <a:cubicBezTo>
                    <a:pt x="0" y="769348"/>
                    <a:pt x="219523" y="990925"/>
                    <a:pt x="492378" y="994098"/>
                  </a:cubicBezTo>
                  <a:lnTo>
                    <a:pt x="492378" y="1205224"/>
                  </a:lnTo>
                  <a:lnTo>
                    <a:pt x="836001" y="862440"/>
                  </a:lnTo>
                  <a:cubicBezTo>
                    <a:pt x="938386" y="768399"/>
                    <a:pt x="996508" y="635861"/>
                    <a:pt x="996380" y="497033"/>
                  </a:cubicBezTo>
                  <a:close/>
                </a:path>
              </a:pathLst>
            </a:custGeom>
            <a:solidFill>
              <a:schemeClr val="accent5"/>
            </a:solidFill>
            <a:ln w="6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BG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A8F910D9-9A7F-3F44-B03C-E6ECB047A817}"/>
              </a:ext>
            </a:extLst>
          </p:cNvPr>
          <p:cNvSpPr txBox="1"/>
          <p:nvPr userDrawn="1"/>
        </p:nvSpPr>
        <p:spPr>
          <a:xfrm>
            <a:off x="6578421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</a:t>
            </a:r>
            <a:r>
              <a:rPr lang="en-US" sz="600" b="0" i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1763484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with pi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84872374-72A7-7A45-ABE4-B1FF923979E4}"/>
              </a:ext>
            </a:extLst>
          </p:cNvPr>
          <p:cNvSpPr/>
          <p:nvPr userDrawn="1"/>
        </p:nvSpPr>
        <p:spPr>
          <a:xfrm>
            <a:off x="6109382" y="0"/>
            <a:ext cx="6082618" cy="6858000"/>
          </a:xfrm>
          <a:prstGeom prst="rect">
            <a:avLst/>
          </a:prstGeom>
          <a:solidFill>
            <a:schemeClr val="accent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G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3233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10"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Graphic 20">
            <a:extLst>
              <a:ext uri="{FF2B5EF4-FFF2-40B4-BE49-F238E27FC236}">
                <a16:creationId xmlns:a16="http://schemas.microsoft.com/office/drawing/2014/main" id="{26208EE9-BB53-7349-8881-495E3560D3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74813" t="20149" r="-101" b="55188"/>
          <a:stretch/>
        </p:blipFill>
        <p:spPr>
          <a:xfrm>
            <a:off x="6109382" y="0"/>
            <a:ext cx="6112136" cy="6858000"/>
          </a:xfrm>
          <a:prstGeom prst="rect">
            <a:avLst/>
          </a:prstGeom>
        </p:spPr>
      </p:pic>
      <p:sp>
        <p:nvSpPr>
          <p:cNvPr id="11" name="Picture Placeholder 13">
            <a:extLst>
              <a:ext uri="{FF2B5EF4-FFF2-40B4-BE49-F238E27FC236}">
                <a16:creationId xmlns:a16="http://schemas.microsoft.com/office/drawing/2014/main" id="{FE70C55F-FA1C-E44F-B935-846720A2D16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109382" cy="6858000"/>
          </a:xfrm>
          <a:solidFill>
            <a:schemeClr val="bg2"/>
          </a:solidFill>
        </p:spPr>
        <p:txBody>
          <a:bodyPr vert="horz" lIns="91440" tIns="72000" rIns="91440" bIns="756000" rtlCol="0" anchor="ctr">
            <a:noAutofit/>
          </a:bodyPr>
          <a:lstStyle>
            <a:lvl1pPr marL="0" indent="0">
              <a:buNone/>
              <a:defRPr lang="en-US" sz="18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algn="ctr"/>
            <a:endParaRPr lang="en-US" dirty="0"/>
          </a:p>
        </p:txBody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FE956ECD-98A7-BB48-AD4E-41CD7BA5A6AA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 dirty="0">
              <a:solidFill>
                <a:schemeClr val="bg1">
                  <a:alpha val="7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341D0F29-2B64-464A-AF00-6DC7474EA211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5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 dirty="0">
              <a:solidFill>
                <a:schemeClr val="bg1">
                  <a:alpha val="7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7" name="Picture 2">
            <a:extLst>
              <a:ext uri="{FF2B5EF4-FFF2-40B4-BE49-F238E27FC236}">
                <a16:creationId xmlns:a16="http://schemas.microsoft.com/office/drawing/2014/main" id="{CAF5AAA1-BBCB-40FE-8286-4581A3B9842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494075" y="6453499"/>
            <a:ext cx="939600" cy="217948"/>
          </a:xfrm>
          <a:prstGeom prst="rect">
            <a:avLst/>
          </a:prstGeom>
        </p:spPr>
      </p:pic>
      <p:grpSp>
        <p:nvGrpSpPr>
          <p:cNvPr id="23" name="Graphic 10">
            <a:extLst>
              <a:ext uri="{FF2B5EF4-FFF2-40B4-BE49-F238E27FC236}">
                <a16:creationId xmlns:a16="http://schemas.microsoft.com/office/drawing/2014/main" id="{5B7617CC-6FDB-EA47-A30B-F937416FF4A3}"/>
              </a:ext>
            </a:extLst>
          </p:cNvPr>
          <p:cNvGrpSpPr/>
          <p:nvPr userDrawn="1"/>
        </p:nvGrpSpPr>
        <p:grpSpPr>
          <a:xfrm>
            <a:off x="6362700" y="538163"/>
            <a:ext cx="2554288" cy="1464044"/>
            <a:chOff x="7355176" y="1247511"/>
            <a:chExt cx="2101340" cy="1204427"/>
          </a:xfrm>
        </p:grpSpPr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102DEC17-749A-5745-A3C8-8A951CB042CD}"/>
                </a:ext>
              </a:extLst>
            </p:cNvPr>
            <p:cNvSpPr/>
            <p:nvPr/>
          </p:nvSpPr>
          <p:spPr>
            <a:xfrm>
              <a:off x="7352293" y="1247383"/>
              <a:ext cx="999261" cy="1205383"/>
            </a:xfrm>
            <a:custGeom>
              <a:avLst/>
              <a:gdLst>
                <a:gd name="connsiteX0" fmla="*/ 501072 w 999261"/>
                <a:gd name="connsiteY0" fmla="*/ 128 h 1205383"/>
                <a:gd name="connsiteX1" fmla="*/ 9 w 999261"/>
                <a:gd name="connsiteY1" fmla="*/ 494325 h 1205383"/>
                <a:gd name="connsiteX2" fmla="*/ 495324 w 999261"/>
                <a:gd name="connsiteY2" fmla="*/ 994258 h 1205383"/>
                <a:gd name="connsiteX3" fmla="*/ 495324 w 999261"/>
                <a:gd name="connsiteY3" fmla="*/ 1205383 h 1205383"/>
                <a:gd name="connsiteX4" fmla="*/ 838884 w 999261"/>
                <a:gd name="connsiteY4" fmla="*/ 862408 h 1205383"/>
                <a:gd name="connsiteX5" fmla="*/ 867242 w 999261"/>
                <a:gd name="connsiteY5" fmla="*/ 160023 h 1205383"/>
                <a:gd name="connsiteX6" fmla="*/ 501072 w 999261"/>
                <a:gd name="connsiteY6" fmla="*/ 0 h 1205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9261" h="1205383">
                  <a:moveTo>
                    <a:pt x="501072" y="128"/>
                  </a:moveTo>
                  <a:cubicBezTo>
                    <a:pt x="225931" y="-1459"/>
                    <a:pt x="1599" y="219805"/>
                    <a:pt x="9" y="494325"/>
                  </a:cubicBezTo>
                  <a:cubicBezTo>
                    <a:pt x="-1582" y="768845"/>
                    <a:pt x="220183" y="992671"/>
                    <a:pt x="495324" y="994258"/>
                  </a:cubicBezTo>
                  <a:lnTo>
                    <a:pt x="495324" y="1205383"/>
                  </a:lnTo>
                  <a:lnTo>
                    <a:pt x="838884" y="862408"/>
                  </a:lnTo>
                  <a:cubicBezTo>
                    <a:pt x="1041098" y="676263"/>
                    <a:pt x="1053808" y="361793"/>
                    <a:pt x="867242" y="160023"/>
                  </a:cubicBezTo>
                  <a:cubicBezTo>
                    <a:pt x="772905" y="58016"/>
                    <a:pt x="640170" y="0"/>
                    <a:pt x="501072" y="0"/>
                  </a:cubicBezTo>
                  <a:close/>
                </a:path>
              </a:pathLst>
            </a:custGeom>
            <a:solidFill>
              <a:srgbClr val="CDFFCA"/>
            </a:solidFill>
            <a:ln w="6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BG" dirty="0">
                <a:solidFill>
                  <a:srgbClr val="CDFFCA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0DCD6703-F5A1-2C43-8B04-5009508CED50}"/>
                </a:ext>
              </a:extLst>
            </p:cNvPr>
            <p:cNvSpPr/>
            <p:nvPr/>
          </p:nvSpPr>
          <p:spPr>
            <a:xfrm>
              <a:off x="8460710" y="1247606"/>
              <a:ext cx="996380" cy="1205223"/>
            </a:xfrm>
            <a:custGeom>
              <a:avLst/>
              <a:gdLst>
                <a:gd name="connsiteX0" fmla="*/ 996380 w 996380"/>
                <a:gd name="connsiteY0" fmla="*/ 497033 h 1205223"/>
                <a:gd name="connsiteX1" fmla="*/ 498126 w 996380"/>
                <a:gd name="connsiteY1" fmla="*/ 0 h 1205223"/>
                <a:gd name="connsiteX2" fmla="*/ 0 w 996380"/>
                <a:gd name="connsiteY2" fmla="*/ 497103 h 1205223"/>
                <a:gd name="connsiteX3" fmla="*/ 492378 w 996380"/>
                <a:gd name="connsiteY3" fmla="*/ 994098 h 1205223"/>
                <a:gd name="connsiteX4" fmla="*/ 492378 w 996380"/>
                <a:gd name="connsiteY4" fmla="*/ 1205224 h 1205223"/>
                <a:gd name="connsiteX5" fmla="*/ 836001 w 996380"/>
                <a:gd name="connsiteY5" fmla="*/ 862440 h 1205223"/>
                <a:gd name="connsiteX6" fmla="*/ 996380 w 996380"/>
                <a:gd name="connsiteY6" fmla="*/ 497033 h 120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6380" h="1205223">
                  <a:moveTo>
                    <a:pt x="996380" y="497033"/>
                  </a:moveTo>
                  <a:cubicBezTo>
                    <a:pt x="996380" y="222513"/>
                    <a:pt x="773280" y="-19"/>
                    <a:pt x="498126" y="0"/>
                  </a:cubicBezTo>
                  <a:cubicBezTo>
                    <a:pt x="223036" y="19"/>
                    <a:pt x="0" y="222577"/>
                    <a:pt x="0" y="497103"/>
                  </a:cubicBezTo>
                  <a:cubicBezTo>
                    <a:pt x="0" y="769348"/>
                    <a:pt x="219523" y="990925"/>
                    <a:pt x="492378" y="994098"/>
                  </a:cubicBezTo>
                  <a:lnTo>
                    <a:pt x="492378" y="1205224"/>
                  </a:lnTo>
                  <a:lnTo>
                    <a:pt x="836001" y="862440"/>
                  </a:lnTo>
                  <a:cubicBezTo>
                    <a:pt x="938386" y="768399"/>
                    <a:pt x="996508" y="635861"/>
                    <a:pt x="996380" y="497033"/>
                  </a:cubicBezTo>
                  <a:close/>
                </a:path>
              </a:pathLst>
            </a:custGeom>
            <a:solidFill>
              <a:srgbClr val="CDFFCA"/>
            </a:solidFill>
            <a:ln w="6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BG" dirty="0">
                <a:solidFill>
                  <a:srgbClr val="CDFFCA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575823E-4AE2-E44E-AE42-22F39C525D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78421" y="6027738"/>
            <a:ext cx="4891267" cy="315387"/>
          </a:xfrm>
        </p:spPr>
        <p:txBody>
          <a:bodyPr tIns="72000" anchor="t">
            <a:noAutofit/>
          </a:bodyPr>
          <a:lstStyle>
            <a:lvl1pPr marL="0" indent="0" algn="l">
              <a:lnSpc>
                <a:spcPts val="1800"/>
              </a:lnSpc>
              <a:buNone/>
              <a:defRPr sz="1800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817E525C-8A92-6542-B9AF-1EE4C1D86C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78421" y="2133601"/>
            <a:ext cx="4891268" cy="3201988"/>
          </a:xfrm>
        </p:spPr>
        <p:txBody>
          <a:bodyPr tIns="108000"/>
          <a:lstStyle>
            <a:lvl1pPr>
              <a:lnSpc>
                <a:spcPts val="3600"/>
              </a:lnSpc>
              <a:defRPr sz="4000" b="1" spc="-1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Quote Slide, Enter Quote Here.”</a:t>
            </a:r>
          </a:p>
          <a:p>
            <a:pPr lvl="0"/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85BA675-54BD-2446-AC6B-564132E6194A}"/>
              </a:ext>
            </a:extLst>
          </p:cNvPr>
          <p:cNvSpPr txBox="1"/>
          <p:nvPr userDrawn="1"/>
        </p:nvSpPr>
        <p:spPr>
          <a:xfrm>
            <a:off x="6578421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</a:t>
            </a:r>
            <a:r>
              <a:rPr lang="en-US" sz="600" b="0" i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A0A3F1FD-95F0-2948-9D5D-3521866F62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78421" y="5571495"/>
            <a:ext cx="4891267" cy="434001"/>
          </a:xfrm>
        </p:spPr>
        <p:txBody>
          <a:bodyPr tIns="36000" anchor="ctr" anchorCtr="0">
            <a:noAutofit/>
          </a:bodyPr>
          <a:lstStyle>
            <a:lvl1pPr marL="0" indent="0" algn="l">
              <a:lnSpc>
                <a:spcPts val="1800"/>
              </a:lnSpc>
              <a:buNone/>
              <a:defRPr sz="20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424467116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 lef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E4A2CE8B-6C7B-204B-A553-FDFA7E79572A}"/>
              </a:ext>
            </a:extLst>
          </p:cNvPr>
          <p:cNvSpPr/>
          <p:nvPr userDrawn="1"/>
        </p:nvSpPr>
        <p:spPr>
          <a:xfrm>
            <a:off x="6120852" y="0"/>
            <a:ext cx="6071148" cy="6858000"/>
          </a:xfrm>
          <a:prstGeom prst="rect">
            <a:avLst/>
          </a:prstGeom>
          <a:solidFill>
            <a:schemeClr val="tx2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G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85EE20A4-56CA-6E43-ADB3-9DCE7A1E5A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72655" t="20588" r="1" b="52733"/>
          <a:stretch/>
        </p:blipFill>
        <p:spPr>
          <a:xfrm>
            <a:off x="6094088" y="0"/>
            <a:ext cx="6109382" cy="6858000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42355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06" name="think-cell Slide" r:id="rId6" imgW="349" imgH="349" progId="TCLayout.ActiveDocument.1">
                  <p:embed/>
                </p:oleObj>
              </mc:Choice>
              <mc:Fallback>
                <p:oleObj name="think-cell Slide" r:id="rId6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icture Placeholder 13">
            <a:extLst>
              <a:ext uri="{FF2B5EF4-FFF2-40B4-BE49-F238E27FC236}">
                <a16:creationId xmlns:a16="http://schemas.microsoft.com/office/drawing/2014/main" id="{FE70C55F-FA1C-E44F-B935-846720A2D16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109382" cy="6858000"/>
          </a:xfrm>
          <a:solidFill>
            <a:schemeClr val="bg2"/>
          </a:solidFill>
        </p:spPr>
        <p:txBody>
          <a:bodyPr vert="horz" lIns="91440" tIns="72000" rIns="91440" bIns="756000" rtlCol="0" anchor="ctr">
            <a:noAutofit/>
          </a:bodyPr>
          <a:lstStyle>
            <a:lvl1pPr marL="0" indent="0">
              <a:buNone/>
              <a:defRPr lang="en-US" sz="18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algn="ctr"/>
            <a:endParaRPr lang="en-US" dirty="0"/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CD079D76-E4BD-2D4D-B1D5-65D76184811D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 dirty="0">
              <a:solidFill>
                <a:schemeClr val="bg1">
                  <a:alpha val="7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Slide Number Placeholder 5">
            <a:extLst>
              <a:ext uri="{FF2B5EF4-FFF2-40B4-BE49-F238E27FC236}">
                <a16:creationId xmlns:a16="http://schemas.microsoft.com/office/drawing/2014/main" id="{0C2DE4C0-ADB1-9043-9820-BFB73CFF1A39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5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 dirty="0">
              <a:solidFill>
                <a:schemeClr val="bg1">
                  <a:alpha val="7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A2A3EF89-F6E9-9840-89E6-BE9E0BFAA4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6040" y="538163"/>
            <a:ext cx="5278437" cy="1139825"/>
          </a:xfrm>
        </p:spPr>
        <p:txBody>
          <a:bodyPr tIns="108000"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BG" dirty="0"/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B4F3B5D7-63F6-45DB-9D4A-EC1359B26D21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494075" y="6453499"/>
            <a:ext cx="939600" cy="217948"/>
          </a:xfrm>
          <a:prstGeom prst="rect">
            <a:avLst/>
          </a:prstGeom>
        </p:spPr>
      </p:pic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F7733DFD-694E-F241-959B-4ECECFC79FC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69362" y="1808922"/>
            <a:ext cx="5278437" cy="4428366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4F1FFA8-2867-0248-8EF4-6A5194F83596}"/>
              </a:ext>
            </a:extLst>
          </p:cNvPr>
          <p:cNvSpPr txBox="1"/>
          <p:nvPr userDrawn="1"/>
        </p:nvSpPr>
        <p:spPr>
          <a:xfrm>
            <a:off x="6578421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</a:t>
            </a:r>
            <a:r>
              <a:rPr lang="en-US" sz="600" b="0" i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21564039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 lef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84872374-72A7-7A45-ABE4-B1FF923979E4}"/>
              </a:ext>
            </a:extLst>
          </p:cNvPr>
          <p:cNvSpPr/>
          <p:nvPr userDrawn="1"/>
        </p:nvSpPr>
        <p:spPr>
          <a:xfrm>
            <a:off x="6109382" y="0"/>
            <a:ext cx="6082618" cy="6858000"/>
          </a:xfrm>
          <a:prstGeom prst="rect">
            <a:avLst/>
          </a:prstGeom>
          <a:solidFill>
            <a:schemeClr val="accent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G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9296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30"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Graphic 20">
            <a:extLst>
              <a:ext uri="{FF2B5EF4-FFF2-40B4-BE49-F238E27FC236}">
                <a16:creationId xmlns:a16="http://schemas.microsoft.com/office/drawing/2014/main" id="{26208EE9-BB53-7349-8881-495E3560D3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74813" t="20149" r="-101" b="55188"/>
          <a:stretch/>
        </p:blipFill>
        <p:spPr>
          <a:xfrm>
            <a:off x="6109382" y="0"/>
            <a:ext cx="6112136" cy="6858000"/>
          </a:xfrm>
          <a:prstGeom prst="rect">
            <a:avLst/>
          </a:prstGeom>
        </p:spPr>
      </p:pic>
      <p:sp>
        <p:nvSpPr>
          <p:cNvPr id="11" name="Picture Placeholder 13">
            <a:extLst>
              <a:ext uri="{FF2B5EF4-FFF2-40B4-BE49-F238E27FC236}">
                <a16:creationId xmlns:a16="http://schemas.microsoft.com/office/drawing/2014/main" id="{FE70C55F-FA1C-E44F-B935-846720A2D16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109382" cy="6858000"/>
          </a:xfrm>
          <a:solidFill>
            <a:schemeClr val="bg2"/>
          </a:solidFill>
        </p:spPr>
        <p:txBody>
          <a:bodyPr vert="horz" lIns="91440" tIns="72000" rIns="91440" bIns="756000" rtlCol="0" anchor="ctr">
            <a:noAutofit/>
          </a:bodyPr>
          <a:lstStyle>
            <a:lvl1pPr marL="0" indent="0">
              <a:buNone/>
              <a:defRPr lang="en-US" sz="18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algn="ctr"/>
            <a:endParaRPr lang="en-US" dirty="0"/>
          </a:p>
        </p:txBody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FE956ECD-98A7-BB48-AD4E-41CD7BA5A6AA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 dirty="0">
              <a:solidFill>
                <a:schemeClr val="bg1">
                  <a:alpha val="7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341D0F29-2B64-464A-AF00-6DC7474EA211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5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 dirty="0">
              <a:solidFill>
                <a:schemeClr val="bg1">
                  <a:alpha val="7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823030AB-527D-41D3-A380-69546129EA4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494075" y="6453499"/>
            <a:ext cx="939600" cy="217948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5D344CE0-7DAB-974C-B074-078E7E3A1B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6040" y="538163"/>
            <a:ext cx="5278437" cy="1139825"/>
          </a:xfrm>
        </p:spPr>
        <p:txBody>
          <a:bodyPr tIns="108000"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BG" dirty="0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95DD517E-D7CF-5244-9611-DFBB12E8B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69362" y="1808922"/>
            <a:ext cx="5278437" cy="4428366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7CDCB1F-F122-444B-B4CB-C09A4C407C91}"/>
              </a:ext>
            </a:extLst>
          </p:cNvPr>
          <p:cNvSpPr txBox="1"/>
          <p:nvPr userDrawn="1"/>
        </p:nvSpPr>
        <p:spPr>
          <a:xfrm>
            <a:off x="6578421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</a:t>
            </a:r>
            <a:r>
              <a:rPr lang="en-US" sz="600" b="0" i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13982773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full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051A2CE-B018-1047-87F9-DBEAEB88FD8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 w="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G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29505D2F-6538-C844-974A-0A2C06BA15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39936" t="68338" r="8601" b="650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60059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42" name="think-cell Slide" r:id="rId6" imgW="349" imgH="349" progId="TCLayout.ActiveDocument.1">
                  <p:embed/>
                </p:oleObj>
              </mc:Choice>
              <mc:Fallback>
                <p:oleObj name="think-cell Slide" r:id="rId6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aphic 10">
            <a:extLst>
              <a:ext uri="{FF2B5EF4-FFF2-40B4-BE49-F238E27FC236}">
                <a16:creationId xmlns:a16="http://schemas.microsoft.com/office/drawing/2014/main" id="{3A6E4564-0AFD-394C-86C5-9468022082D4}"/>
              </a:ext>
            </a:extLst>
          </p:cNvPr>
          <p:cNvGrpSpPr/>
          <p:nvPr userDrawn="1"/>
        </p:nvGrpSpPr>
        <p:grpSpPr>
          <a:xfrm>
            <a:off x="757914" y="758595"/>
            <a:ext cx="2493286" cy="1429079"/>
            <a:chOff x="7355176" y="1247511"/>
            <a:chExt cx="2101340" cy="1204427"/>
          </a:xfrm>
        </p:grpSpPr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4E94DD7A-9189-4548-B3D7-D71AED474814}"/>
                </a:ext>
              </a:extLst>
            </p:cNvPr>
            <p:cNvSpPr/>
            <p:nvPr/>
          </p:nvSpPr>
          <p:spPr>
            <a:xfrm>
              <a:off x="7352293" y="1247383"/>
              <a:ext cx="999261" cy="1205383"/>
            </a:xfrm>
            <a:custGeom>
              <a:avLst/>
              <a:gdLst>
                <a:gd name="connsiteX0" fmla="*/ 501072 w 999261"/>
                <a:gd name="connsiteY0" fmla="*/ 128 h 1205383"/>
                <a:gd name="connsiteX1" fmla="*/ 9 w 999261"/>
                <a:gd name="connsiteY1" fmla="*/ 494325 h 1205383"/>
                <a:gd name="connsiteX2" fmla="*/ 495324 w 999261"/>
                <a:gd name="connsiteY2" fmla="*/ 994258 h 1205383"/>
                <a:gd name="connsiteX3" fmla="*/ 495324 w 999261"/>
                <a:gd name="connsiteY3" fmla="*/ 1205383 h 1205383"/>
                <a:gd name="connsiteX4" fmla="*/ 838884 w 999261"/>
                <a:gd name="connsiteY4" fmla="*/ 862408 h 1205383"/>
                <a:gd name="connsiteX5" fmla="*/ 867242 w 999261"/>
                <a:gd name="connsiteY5" fmla="*/ 160023 h 1205383"/>
                <a:gd name="connsiteX6" fmla="*/ 501072 w 999261"/>
                <a:gd name="connsiteY6" fmla="*/ 0 h 1205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9261" h="1205383">
                  <a:moveTo>
                    <a:pt x="501072" y="128"/>
                  </a:moveTo>
                  <a:cubicBezTo>
                    <a:pt x="225931" y="-1459"/>
                    <a:pt x="1599" y="219805"/>
                    <a:pt x="9" y="494325"/>
                  </a:cubicBezTo>
                  <a:cubicBezTo>
                    <a:pt x="-1582" y="768845"/>
                    <a:pt x="220183" y="992671"/>
                    <a:pt x="495324" y="994258"/>
                  </a:cubicBezTo>
                  <a:lnTo>
                    <a:pt x="495324" y="1205383"/>
                  </a:lnTo>
                  <a:lnTo>
                    <a:pt x="838884" y="862408"/>
                  </a:lnTo>
                  <a:cubicBezTo>
                    <a:pt x="1041098" y="676263"/>
                    <a:pt x="1053808" y="361793"/>
                    <a:pt x="867242" y="160023"/>
                  </a:cubicBezTo>
                  <a:cubicBezTo>
                    <a:pt x="772905" y="58016"/>
                    <a:pt x="640170" y="0"/>
                    <a:pt x="501072" y="0"/>
                  </a:cubicBezTo>
                  <a:close/>
                </a:path>
              </a:pathLst>
            </a:custGeom>
            <a:solidFill>
              <a:schemeClr val="accent5"/>
            </a:solidFill>
            <a:ln w="6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BG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CDEC9423-D3E3-AC4E-8565-1B8DA4881327}"/>
                </a:ext>
              </a:extLst>
            </p:cNvPr>
            <p:cNvSpPr/>
            <p:nvPr/>
          </p:nvSpPr>
          <p:spPr>
            <a:xfrm>
              <a:off x="8460710" y="1247606"/>
              <a:ext cx="996380" cy="1205223"/>
            </a:xfrm>
            <a:custGeom>
              <a:avLst/>
              <a:gdLst>
                <a:gd name="connsiteX0" fmla="*/ 996380 w 996380"/>
                <a:gd name="connsiteY0" fmla="*/ 497033 h 1205223"/>
                <a:gd name="connsiteX1" fmla="*/ 498126 w 996380"/>
                <a:gd name="connsiteY1" fmla="*/ 0 h 1205223"/>
                <a:gd name="connsiteX2" fmla="*/ 0 w 996380"/>
                <a:gd name="connsiteY2" fmla="*/ 497103 h 1205223"/>
                <a:gd name="connsiteX3" fmla="*/ 492378 w 996380"/>
                <a:gd name="connsiteY3" fmla="*/ 994098 h 1205223"/>
                <a:gd name="connsiteX4" fmla="*/ 492378 w 996380"/>
                <a:gd name="connsiteY4" fmla="*/ 1205224 h 1205223"/>
                <a:gd name="connsiteX5" fmla="*/ 836001 w 996380"/>
                <a:gd name="connsiteY5" fmla="*/ 862440 h 1205223"/>
                <a:gd name="connsiteX6" fmla="*/ 996380 w 996380"/>
                <a:gd name="connsiteY6" fmla="*/ 497033 h 120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6380" h="1205223">
                  <a:moveTo>
                    <a:pt x="996380" y="497033"/>
                  </a:moveTo>
                  <a:cubicBezTo>
                    <a:pt x="996380" y="222513"/>
                    <a:pt x="773280" y="-19"/>
                    <a:pt x="498126" y="0"/>
                  </a:cubicBezTo>
                  <a:cubicBezTo>
                    <a:pt x="223036" y="19"/>
                    <a:pt x="0" y="222577"/>
                    <a:pt x="0" y="497103"/>
                  </a:cubicBezTo>
                  <a:cubicBezTo>
                    <a:pt x="0" y="769348"/>
                    <a:pt x="219523" y="990925"/>
                    <a:pt x="492378" y="994098"/>
                  </a:cubicBezTo>
                  <a:lnTo>
                    <a:pt x="492378" y="1205224"/>
                  </a:lnTo>
                  <a:lnTo>
                    <a:pt x="836001" y="862440"/>
                  </a:lnTo>
                  <a:cubicBezTo>
                    <a:pt x="938386" y="768399"/>
                    <a:pt x="996508" y="635861"/>
                    <a:pt x="996380" y="497033"/>
                  </a:cubicBezTo>
                  <a:close/>
                </a:path>
              </a:pathLst>
            </a:custGeom>
            <a:solidFill>
              <a:schemeClr val="accent5"/>
            </a:solidFill>
            <a:ln w="6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BG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0589BE5-6A57-8F4D-9D8C-C52E1A56647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06698" y="2351624"/>
            <a:ext cx="9643800" cy="1825012"/>
          </a:xfrm>
        </p:spPr>
        <p:txBody>
          <a:bodyPr tIns="108000"/>
          <a:lstStyle>
            <a:lvl1pPr>
              <a:lnSpc>
                <a:spcPts val="3600"/>
              </a:lnSpc>
              <a:defRPr sz="4400" b="1" spc="-1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Quote Slide, Enter Quote Here.”</a:t>
            </a:r>
          </a:p>
          <a:p>
            <a:pPr lvl="0"/>
            <a:endParaRPr lang="en-GB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EFA5E5E-DAAF-014E-B8B4-967C914D4F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06699" y="4670326"/>
            <a:ext cx="4694052" cy="346934"/>
          </a:xfrm>
        </p:spPr>
        <p:txBody>
          <a:bodyPr tIns="36000" anchor="ctr" anchorCtr="0">
            <a:noAutofit/>
          </a:bodyPr>
          <a:lstStyle>
            <a:lvl1pPr marL="0" indent="0" algn="l">
              <a:lnSpc>
                <a:spcPts val="1800"/>
              </a:lnSpc>
              <a:buNone/>
              <a:defRPr sz="20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9552D3A5-C740-6E4E-BBFD-2D16D91FA31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06699" y="5072956"/>
            <a:ext cx="4694052" cy="318328"/>
          </a:xfrm>
        </p:spPr>
        <p:txBody>
          <a:bodyPr tIns="72000" anchor="t">
            <a:noAutofit/>
          </a:bodyPr>
          <a:lstStyle>
            <a:lvl1pPr marL="0" indent="0" algn="l">
              <a:lnSpc>
                <a:spcPts val="1800"/>
              </a:lnSpc>
              <a:buNone/>
              <a:defRPr sz="1800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5BC718B7-D1C8-234E-8499-E213D028B6F7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69766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 dirty="0">
              <a:solidFill>
                <a:schemeClr val="bg1">
                  <a:alpha val="69766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2">
            <a:extLst>
              <a:ext uri="{FF2B5EF4-FFF2-40B4-BE49-F238E27FC236}">
                <a16:creationId xmlns:a16="http://schemas.microsoft.com/office/drawing/2014/main" id="{5A2CA354-3C09-41EB-90E3-8AB6A45C06F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494075" y="6453499"/>
            <a:ext cx="939600" cy="217948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049EAEB3-1467-7E47-B524-839C5033BB34}"/>
              </a:ext>
            </a:extLst>
          </p:cNvPr>
          <p:cNvSpPr txBox="1"/>
          <p:nvPr userDrawn="1"/>
        </p:nvSpPr>
        <p:spPr>
          <a:xfrm>
            <a:off x="4507424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</a:t>
            </a:r>
            <a:r>
              <a:rPr lang="en-US" sz="600" b="0" i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91993175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full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F9615A0-0E38-EA4B-A4CD-971B0012D7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 w="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G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458E1F70-633B-1741-81E2-FC0B0A5EBB6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39758" t="68961" r="9798" b="6376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8519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90" name="think-cell Slide" r:id="rId6" imgW="349" imgH="349" progId="TCLayout.ActiveDocument.1">
                  <p:embed/>
                </p:oleObj>
              </mc:Choice>
              <mc:Fallback>
                <p:oleObj name="think-cell Slide" r:id="rId6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16F1C15D-96CD-B54C-9B65-84F58E5EFBB7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69766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 dirty="0">
              <a:solidFill>
                <a:schemeClr val="bg1">
                  <a:alpha val="69766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2">
            <a:extLst>
              <a:ext uri="{FF2B5EF4-FFF2-40B4-BE49-F238E27FC236}">
                <a16:creationId xmlns:a16="http://schemas.microsoft.com/office/drawing/2014/main" id="{7FCBF96B-146F-4F56-AC3D-EB12817277B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494075" y="6453499"/>
            <a:ext cx="939600" cy="217948"/>
          </a:xfrm>
          <a:prstGeom prst="rect">
            <a:avLst/>
          </a:prstGeom>
        </p:spPr>
      </p:pic>
      <p:grpSp>
        <p:nvGrpSpPr>
          <p:cNvPr id="16" name="Graphic 10">
            <a:extLst>
              <a:ext uri="{FF2B5EF4-FFF2-40B4-BE49-F238E27FC236}">
                <a16:creationId xmlns:a16="http://schemas.microsoft.com/office/drawing/2014/main" id="{932DF292-4833-B247-953B-D4EA83227C77}"/>
              </a:ext>
            </a:extLst>
          </p:cNvPr>
          <p:cNvGrpSpPr/>
          <p:nvPr userDrawn="1"/>
        </p:nvGrpSpPr>
        <p:grpSpPr>
          <a:xfrm>
            <a:off x="757914" y="758595"/>
            <a:ext cx="2493286" cy="1429079"/>
            <a:chOff x="7355176" y="1247511"/>
            <a:chExt cx="2101340" cy="1204427"/>
          </a:xfrm>
        </p:grpSpPr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75D57D39-0B16-A64B-8443-72A68E313FB5}"/>
                </a:ext>
              </a:extLst>
            </p:cNvPr>
            <p:cNvSpPr/>
            <p:nvPr/>
          </p:nvSpPr>
          <p:spPr>
            <a:xfrm>
              <a:off x="7352293" y="1247383"/>
              <a:ext cx="999261" cy="1205383"/>
            </a:xfrm>
            <a:custGeom>
              <a:avLst/>
              <a:gdLst>
                <a:gd name="connsiteX0" fmla="*/ 501072 w 999261"/>
                <a:gd name="connsiteY0" fmla="*/ 128 h 1205383"/>
                <a:gd name="connsiteX1" fmla="*/ 9 w 999261"/>
                <a:gd name="connsiteY1" fmla="*/ 494325 h 1205383"/>
                <a:gd name="connsiteX2" fmla="*/ 495324 w 999261"/>
                <a:gd name="connsiteY2" fmla="*/ 994258 h 1205383"/>
                <a:gd name="connsiteX3" fmla="*/ 495324 w 999261"/>
                <a:gd name="connsiteY3" fmla="*/ 1205383 h 1205383"/>
                <a:gd name="connsiteX4" fmla="*/ 838884 w 999261"/>
                <a:gd name="connsiteY4" fmla="*/ 862408 h 1205383"/>
                <a:gd name="connsiteX5" fmla="*/ 867242 w 999261"/>
                <a:gd name="connsiteY5" fmla="*/ 160023 h 1205383"/>
                <a:gd name="connsiteX6" fmla="*/ 501072 w 999261"/>
                <a:gd name="connsiteY6" fmla="*/ 0 h 1205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9261" h="1205383">
                  <a:moveTo>
                    <a:pt x="501072" y="128"/>
                  </a:moveTo>
                  <a:cubicBezTo>
                    <a:pt x="225931" y="-1459"/>
                    <a:pt x="1599" y="219805"/>
                    <a:pt x="9" y="494325"/>
                  </a:cubicBezTo>
                  <a:cubicBezTo>
                    <a:pt x="-1582" y="768845"/>
                    <a:pt x="220183" y="992671"/>
                    <a:pt x="495324" y="994258"/>
                  </a:cubicBezTo>
                  <a:lnTo>
                    <a:pt x="495324" y="1205383"/>
                  </a:lnTo>
                  <a:lnTo>
                    <a:pt x="838884" y="862408"/>
                  </a:lnTo>
                  <a:cubicBezTo>
                    <a:pt x="1041098" y="676263"/>
                    <a:pt x="1053808" y="361793"/>
                    <a:pt x="867242" y="160023"/>
                  </a:cubicBezTo>
                  <a:cubicBezTo>
                    <a:pt x="772905" y="58016"/>
                    <a:pt x="640170" y="0"/>
                    <a:pt x="501072" y="0"/>
                  </a:cubicBezTo>
                  <a:close/>
                </a:path>
              </a:pathLst>
            </a:custGeom>
            <a:solidFill>
              <a:srgbClr val="CDFFCA"/>
            </a:solidFill>
            <a:ln w="6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BG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56FD022E-5944-DA47-BE61-7F1690CE160F}"/>
                </a:ext>
              </a:extLst>
            </p:cNvPr>
            <p:cNvSpPr/>
            <p:nvPr/>
          </p:nvSpPr>
          <p:spPr>
            <a:xfrm>
              <a:off x="8460710" y="1247606"/>
              <a:ext cx="996380" cy="1205223"/>
            </a:xfrm>
            <a:custGeom>
              <a:avLst/>
              <a:gdLst>
                <a:gd name="connsiteX0" fmla="*/ 996380 w 996380"/>
                <a:gd name="connsiteY0" fmla="*/ 497033 h 1205223"/>
                <a:gd name="connsiteX1" fmla="*/ 498126 w 996380"/>
                <a:gd name="connsiteY1" fmla="*/ 0 h 1205223"/>
                <a:gd name="connsiteX2" fmla="*/ 0 w 996380"/>
                <a:gd name="connsiteY2" fmla="*/ 497103 h 1205223"/>
                <a:gd name="connsiteX3" fmla="*/ 492378 w 996380"/>
                <a:gd name="connsiteY3" fmla="*/ 994098 h 1205223"/>
                <a:gd name="connsiteX4" fmla="*/ 492378 w 996380"/>
                <a:gd name="connsiteY4" fmla="*/ 1205224 h 1205223"/>
                <a:gd name="connsiteX5" fmla="*/ 836001 w 996380"/>
                <a:gd name="connsiteY5" fmla="*/ 862440 h 1205223"/>
                <a:gd name="connsiteX6" fmla="*/ 996380 w 996380"/>
                <a:gd name="connsiteY6" fmla="*/ 497033 h 120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6380" h="1205223">
                  <a:moveTo>
                    <a:pt x="996380" y="497033"/>
                  </a:moveTo>
                  <a:cubicBezTo>
                    <a:pt x="996380" y="222513"/>
                    <a:pt x="773280" y="-19"/>
                    <a:pt x="498126" y="0"/>
                  </a:cubicBezTo>
                  <a:cubicBezTo>
                    <a:pt x="223036" y="19"/>
                    <a:pt x="0" y="222577"/>
                    <a:pt x="0" y="497103"/>
                  </a:cubicBezTo>
                  <a:cubicBezTo>
                    <a:pt x="0" y="769348"/>
                    <a:pt x="219523" y="990925"/>
                    <a:pt x="492378" y="994098"/>
                  </a:cubicBezTo>
                  <a:lnTo>
                    <a:pt x="492378" y="1205224"/>
                  </a:lnTo>
                  <a:lnTo>
                    <a:pt x="836001" y="862440"/>
                  </a:lnTo>
                  <a:cubicBezTo>
                    <a:pt x="938386" y="768399"/>
                    <a:pt x="996508" y="635861"/>
                    <a:pt x="996380" y="497033"/>
                  </a:cubicBezTo>
                  <a:close/>
                </a:path>
              </a:pathLst>
            </a:custGeom>
            <a:solidFill>
              <a:srgbClr val="CDFFCA"/>
            </a:solidFill>
            <a:ln w="6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BG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33391C7-8702-8C41-B01E-D2B011065E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06698" y="2351624"/>
            <a:ext cx="9643800" cy="1825012"/>
          </a:xfrm>
        </p:spPr>
        <p:txBody>
          <a:bodyPr tIns="108000"/>
          <a:lstStyle>
            <a:lvl1pPr>
              <a:lnSpc>
                <a:spcPts val="3600"/>
              </a:lnSpc>
              <a:defRPr sz="4400" b="1" spc="-1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Quote Slide, Enter Quote Here.”</a:t>
            </a:r>
          </a:p>
          <a:p>
            <a:pPr lvl="0"/>
            <a:endParaRPr lang="en-GB" dirty="0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43CE5176-45CA-FA49-B95F-C93300B5B02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06699" y="4670326"/>
            <a:ext cx="4694052" cy="346934"/>
          </a:xfrm>
        </p:spPr>
        <p:txBody>
          <a:bodyPr tIns="36000" anchor="ctr" anchorCtr="0">
            <a:noAutofit/>
          </a:bodyPr>
          <a:lstStyle>
            <a:lvl1pPr marL="0" indent="0" algn="l">
              <a:lnSpc>
                <a:spcPts val="1800"/>
              </a:lnSpc>
              <a:buNone/>
              <a:defRPr sz="20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BB114C84-0226-6C4B-A9B5-4A50F19EA3D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06699" y="5072956"/>
            <a:ext cx="4694052" cy="318328"/>
          </a:xfrm>
        </p:spPr>
        <p:txBody>
          <a:bodyPr tIns="72000" anchor="t">
            <a:noAutofit/>
          </a:bodyPr>
          <a:lstStyle>
            <a:lvl1pPr marL="0" indent="0" algn="l">
              <a:lnSpc>
                <a:spcPts val="1800"/>
              </a:lnSpc>
              <a:buNone/>
              <a:defRPr sz="1800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B570969-DADA-9F43-A66C-7A2FAD252773}"/>
              </a:ext>
            </a:extLst>
          </p:cNvPr>
          <p:cNvSpPr txBox="1"/>
          <p:nvPr userDrawn="1"/>
        </p:nvSpPr>
        <p:spPr>
          <a:xfrm>
            <a:off x="4507424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</a:t>
            </a:r>
            <a:r>
              <a:rPr lang="en-US" sz="600" b="0" i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0539914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quote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0">
            <a:extLst>
              <a:ext uri="{FF2B5EF4-FFF2-40B4-BE49-F238E27FC236}">
                <a16:creationId xmlns:a16="http://schemas.microsoft.com/office/drawing/2014/main" id="{F9976DBB-EE70-1B46-926A-70F0623ACE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37802" y="2088996"/>
            <a:ext cx="5262948" cy="3907915"/>
          </a:xfrm>
          <a:prstGeom prst="rect">
            <a:avLst/>
          </a:prstGeom>
        </p:spPr>
        <p:txBody>
          <a:bodyPr tIns="0"/>
          <a:lstStyle>
            <a:lvl1pPr marL="0" indent="0">
              <a:lnSpc>
                <a:spcPts val="2700"/>
              </a:lnSpc>
              <a:buFontTx/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Example Text</a:t>
            </a:r>
            <a:endParaRPr lang="en-BG" dirty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11074453-7ED4-2846-8443-BD0B4F3FAC0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78550" y="3009747"/>
            <a:ext cx="5291138" cy="2974808"/>
          </a:xfrm>
          <a:prstGeom prst="rect">
            <a:avLst/>
          </a:prstGeom>
        </p:spPr>
        <p:txBody>
          <a:bodyPr tIns="0"/>
          <a:lstStyle>
            <a:lvl1pPr marL="0" indent="0">
              <a:lnSpc>
                <a:spcPts val="2700"/>
              </a:lnSpc>
              <a:buFontTx/>
              <a:buNone/>
              <a:defRPr sz="2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Quote Text Here</a:t>
            </a:r>
            <a:endParaRPr lang="en-BG" dirty="0"/>
          </a:p>
        </p:txBody>
      </p:sp>
      <p:grpSp>
        <p:nvGrpSpPr>
          <p:cNvPr id="6" name="Graphic 10">
            <a:extLst>
              <a:ext uri="{FF2B5EF4-FFF2-40B4-BE49-F238E27FC236}">
                <a16:creationId xmlns:a16="http://schemas.microsoft.com/office/drawing/2014/main" id="{BB169313-042B-E748-B6D1-611F7EE63DB2}"/>
              </a:ext>
            </a:extLst>
          </p:cNvPr>
          <p:cNvGrpSpPr/>
          <p:nvPr userDrawn="1"/>
        </p:nvGrpSpPr>
        <p:grpSpPr>
          <a:xfrm>
            <a:off x="6175766" y="1371600"/>
            <a:ext cx="2531487" cy="1450975"/>
            <a:chOff x="7355176" y="1247511"/>
            <a:chExt cx="2101340" cy="1204427"/>
          </a:xfrm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4559F61B-590D-7D40-9809-20BFA3E0EEE8}"/>
                </a:ext>
              </a:extLst>
            </p:cNvPr>
            <p:cNvSpPr/>
            <p:nvPr/>
          </p:nvSpPr>
          <p:spPr>
            <a:xfrm>
              <a:off x="7352293" y="1247383"/>
              <a:ext cx="999261" cy="1205383"/>
            </a:xfrm>
            <a:custGeom>
              <a:avLst/>
              <a:gdLst>
                <a:gd name="connsiteX0" fmla="*/ 501072 w 999261"/>
                <a:gd name="connsiteY0" fmla="*/ 128 h 1205383"/>
                <a:gd name="connsiteX1" fmla="*/ 9 w 999261"/>
                <a:gd name="connsiteY1" fmla="*/ 494325 h 1205383"/>
                <a:gd name="connsiteX2" fmla="*/ 495324 w 999261"/>
                <a:gd name="connsiteY2" fmla="*/ 994258 h 1205383"/>
                <a:gd name="connsiteX3" fmla="*/ 495324 w 999261"/>
                <a:gd name="connsiteY3" fmla="*/ 1205383 h 1205383"/>
                <a:gd name="connsiteX4" fmla="*/ 838884 w 999261"/>
                <a:gd name="connsiteY4" fmla="*/ 862408 h 1205383"/>
                <a:gd name="connsiteX5" fmla="*/ 867242 w 999261"/>
                <a:gd name="connsiteY5" fmla="*/ 160023 h 1205383"/>
                <a:gd name="connsiteX6" fmla="*/ 501072 w 999261"/>
                <a:gd name="connsiteY6" fmla="*/ 0 h 1205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9261" h="1205383">
                  <a:moveTo>
                    <a:pt x="501072" y="128"/>
                  </a:moveTo>
                  <a:cubicBezTo>
                    <a:pt x="225931" y="-1459"/>
                    <a:pt x="1599" y="219805"/>
                    <a:pt x="9" y="494325"/>
                  </a:cubicBezTo>
                  <a:cubicBezTo>
                    <a:pt x="-1582" y="768845"/>
                    <a:pt x="220183" y="992671"/>
                    <a:pt x="495324" y="994258"/>
                  </a:cubicBezTo>
                  <a:lnTo>
                    <a:pt x="495324" y="1205383"/>
                  </a:lnTo>
                  <a:lnTo>
                    <a:pt x="838884" y="862408"/>
                  </a:lnTo>
                  <a:cubicBezTo>
                    <a:pt x="1041098" y="676263"/>
                    <a:pt x="1053808" y="361793"/>
                    <a:pt x="867242" y="160023"/>
                  </a:cubicBezTo>
                  <a:cubicBezTo>
                    <a:pt x="772905" y="58016"/>
                    <a:pt x="640170" y="0"/>
                    <a:pt x="501072" y="0"/>
                  </a:cubicBezTo>
                  <a:close/>
                </a:path>
              </a:pathLst>
            </a:custGeom>
            <a:solidFill>
              <a:schemeClr val="accent6"/>
            </a:solidFill>
            <a:ln w="6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BG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992E75D-A512-384C-9E90-FC19625012E8}"/>
                </a:ext>
              </a:extLst>
            </p:cNvPr>
            <p:cNvSpPr/>
            <p:nvPr/>
          </p:nvSpPr>
          <p:spPr>
            <a:xfrm>
              <a:off x="8460710" y="1247606"/>
              <a:ext cx="996380" cy="1205223"/>
            </a:xfrm>
            <a:custGeom>
              <a:avLst/>
              <a:gdLst>
                <a:gd name="connsiteX0" fmla="*/ 996380 w 996380"/>
                <a:gd name="connsiteY0" fmla="*/ 497033 h 1205223"/>
                <a:gd name="connsiteX1" fmla="*/ 498126 w 996380"/>
                <a:gd name="connsiteY1" fmla="*/ 0 h 1205223"/>
                <a:gd name="connsiteX2" fmla="*/ 0 w 996380"/>
                <a:gd name="connsiteY2" fmla="*/ 497103 h 1205223"/>
                <a:gd name="connsiteX3" fmla="*/ 492378 w 996380"/>
                <a:gd name="connsiteY3" fmla="*/ 994098 h 1205223"/>
                <a:gd name="connsiteX4" fmla="*/ 492378 w 996380"/>
                <a:gd name="connsiteY4" fmla="*/ 1205224 h 1205223"/>
                <a:gd name="connsiteX5" fmla="*/ 836001 w 996380"/>
                <a:gd name="connsiteY5" fmla="*/ 862440 h 1205223"/>
                <a:gd name="connsiteX6" fmla="*/ 996380 w 996380"/>
                <a:gd name="connsiteY6" fmla="*/ 497033 h 120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6380" h="1205223">
                  <a:moveTo>
                    <a:pt x="996380" y="497033"/>
                  </a:moveTo>
                  <a:cubicBezTo>
                    <a:pt x="996380" y="222513"/>
                    <a:pt x="773280" y="-19"/>
                    <a:pt x="498126" y="0"/>
                  </a:cubicBezTo>
                  <a:cubicBezTo>
                    <a:pt x="223036" y="19"/>
                    <a:pt x="0" y="222577"/>
                    <a:pt x="0" y="497103"/>
                  </a:cubicBezTo>
                  <a:cubicBezTo>
                    <a:pt x="0" y="769348"/>
                    <a:pt x="219523" y="990925"/>
                    <a:pt x="492378" y="994098"/>
                  </a:cubicBezTo>
                  <a:lnTo>
                    <a:pt x="492378" y="1205224"/>
                  </a:lnTo>
                  <a:lnTo>
                    <a:pt x="836001" y="862440"/>
                  </a:lnTo>
                  <a:cubicBezTo>
                    <a:pt x="938386" y="768399"/>
                    <a:pt x="996508" y="635861"/>
                    <a:pt x="996380" y="497033"/>
                  </a:cubicBezTo>
                  <a:close/>
                </a:path>
              </a:pathLst>
            </a:custGeom>
            <a:solidFill>
              <a:schemeClr val="accent6"/>
            </a:solidFill>
            <a:ln w="6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BG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2" name="Title 1">
            <a:extLst>
              <a:ext uri="{FF2B5EF4-FFF2-40B4-BE49-F238E27FC236}">
                <a16:creationId xmlns:a16="http://schemas.microsoft.com/office/drawing/2014/main" id="{18AF90E1-EE23-0941-9333-3F5BC5F048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2313" y="538164"/>
            <a:ext cx="5278437" cy="1370012"/>
          </a:xfrm>
          <a:prstGeom prst="rect">
            <a:avLst/>
          </a:prstGeom>
        </p:spPr>
        <p:txBody>
          <a:bodyPr tIns="108000" anchor="t">
            <a:noAutofit/>
          </a:bodyPr>
          <a:lstStyle>
            <a:lvl1pPr>
              <a:lnSpc>
                <a:spcPts val="3600"/>
              </a:lnSpc>
              <a:defRPr lang="en-US" sz="4000" b="1" i="0" kern="0" spc="-100" baseline="0" noProof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Headline / Body Text</a:t>
            </a:r>
            <a:br>
              <a:rPr lang="en-US" dirty="0"/>
            </a:br>
            <a:r>
              <a:rPr lang="en-US" dirty="0"/>
              <a:t>&amp; Quote</a:t>
            </a:r>
          </a:p>
        </p:txBody>
      </p:sp>
    </p:spTree>
    <p:extLst>
      <p:ext uri="{BB962C8B-B14F-4D97-AF65-F5344CB8AC3E}">
        <p14:creationId xmlns:p14="http://schemas.microsoft.com/office/powerpoint/2010/main" val="32930653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Green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AFED4F88-4F8F-456C-B545-1EA180BAE73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1763375" cy="6858000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44101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02" name="think-cell Slide" r:id="rId5" imgW="349" imgH="349" progId="TCLayout.ActiveDocument.1">
                  <p:embed/>
                </p:oleObj>
              </mc:Choice>
              <mc:Fallback>
                <p:oleObj name="think-cell Slide" r:id="rId5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F16280BD-A737-4168-AD03-8CFA3C9E789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207452" y="0"/>
            <a:ext cx="10984548" cy="6858000"/>
          </a:xfrm>
          <a:custGeom>
            <a:avLst/>
            <a:gdLst>
              <a:gd name="connsiteX0" fmla="*/ 0 w 10984548"/>
              <a:gd name="connsiteY0" fmla="*/ 0 h 6851650"/>
              <a:gd name="connsiteX1" fmla="*/ 6617336 w 10984548"/>
              <a:gd name="connsiteY1" fmla="*/ 0 h 6851650"/>
              <a:gd name="connsiteX2" fmla="*/ 10717848 w 10984548"/>
              <a:gd name="connsiteY2" fmla="*/ 0 h 6851650"/>
              <a:gd name="connsiteX3" fmla="*/ 10961688 w 10984548"/>
              <a:gd name="connsiteY3" fmla="*/ 0 h 6851650"/>
              <a:gd name="connsiteX4" fmla="*/ 10984548 w 10984548"/>
              <a:gd name="connsiteY4" fmla="*/ 0 h 6851650"/>
              <a:gd name="connsiteX5" fmla="*/ 10984548 w 10984548"/>
              <a:gd name="connsiteY5" fmla="*/ 2921000 h 6851650"/>
              <a:gd name="connsiteX6" fmla="*/ 10984548 w 10984548"/>
              <a:gd name="connsiteY6" fmla="*/ 6851650 h 6851650"/>
              <a:gd name="connsiteX7" fmla="*/ 10961688 w 10984548"/>
              <a:gd name="connsiteY7" fmla="*/ 6851650 h 6851650"/>
              <a:gd name="connsiteX8" fmla="*/ 10717848 w 10984548"/>
              <a:gd name="connsiteY8" fmla="*/ 6851650 h 6851650"/>
              <a:gd name="connsiteX9" fmla="*/ 10529888 w 10984548"/>
              <a:gd name="connsiteY9" fmla="*/ 6851650 h 6851650"/>
              <a:gd name="connsiteX10" fmla="*/ 10529888 w 10984548"/>
              <a:gd name="connsiteY10" fmla="*/ 6270625 h 6851650"/>
              <a:gd name="connsiteX11" fmla="*/ 10529888 w 10984548"/>
              <a:gd name="connsiteY11" fmla="*/ 6238875 h 6851650"/>
              <a:gd name="connsiteX12" fmla="*/ 10523538 w 10984548"/>
              <a:gd name="connsiteY12" fmla="*/ 6203950 h 6851650"/>
              <a:gd name="connsiteX13" fmla="*/ 10514013 w 10984548"/>
              <a:gd name="connsiteY13" fmla="*/ 6172200 h 6851650"/>
              <a:gd name="connsiteX14" fmla="*/ 10501313 w 10984548"/>
              <a:gd name="connsiteY14" fmla="*/ 6140450 h 6851650"/>
              <a:gd name="connsiteX15" fmla="*/ 10479088 w 10984548"/>
              <a:gd name="connsiteY15" fmla="*/ 6099175 h 6851650"/>
              <a:gd name="connsiteX16" fmla="*/ 10453688 w 10984548"/>
              <a:gd name="connsiteY16" fmla="*/ 6061075 h 6851650"/>
              <a:gd name="connsiteX17" fmla="*/ 10421938 w 10984548"/>
              <a:gd name="connsiteY17" fmla="*/ 6029325 h 6851650"/>
              <a:gd name="connsiteX18" fmla="*/ 10387013 w 10984548"/>
              <a:gd name="connsiteY18" fmla="*/ 6000750 h 6851650"/>
              <a:gd name="connsiteX19" fmla="*/ 10347325 w 10984548"/>
              <a:gd name="connsiteY19" fmla="*/ 5975350 h 6851650"/>
              <a:gd name="connsiteX20" fmla="*/ 10309225 w 10984548"/>
              <a:gd name="connsiteY20" fmla="*/ 5949950 h 6851650"/>
              <a:gd name="connsiteX21" fmla="*/ 10226675 w 10984548"/>
              <a:gd name="connsiteY21" fmla="*/ 5902325 h 6851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984548" h="6851650">
                <a:moveTo>
                  <a:pt x="0" y="0"/>
                </a:moveTo>
                <a:lnTo>
                  <a:pt x="6617336" y="0"/>
                </a:lnTo>
                <a:lnTo>
                  <a:pt x="10717848" y="0"/>
                </a:lnTo>
                <a:lnTo>
                  <a:pt x="10961688" y="0"/>
                </a:lnTo>
                <a:lnTo>
                  <a:pt x="10984548" y="0"/>
                </a:lnTo>
                <a:lnTo>
                  <a:pt x="10984548" y="2921000"/>
                </a:lnTo>
                <a:lnTo>
                  <a:pt x="10984548" y="6851650"/>
                </a:lnTo>
                <a:lnTo>
                  <a:pt x="10961688" y="6851650"/>
                </a:lnTo>
                <a:lnTo>
                  <a:pt x="10717848" y="6851650"/>
                </a:lnTo>
                <a:lnTo>
                  <a:pt x="10529888" y="6851650"/>
                </a:lnTo>
                <a:lnTo>
                  <a:pt x="10529888" y="6270625"/>
                </a:lnTo>
                <a:lnTo>
                  <a:pt x="10529888" y="6238875"/>
                </a:lnTo>
                <a:lnTo>
                  <a:pt x="10523538" y="6203950"/>
                </a:lnTo>
                <a:lnTo>
                  <a:pt x="10514013" y="6172200"/>
                </a:lnTo>
                <a:lnTo>
                  <a:pt x="10501313" y="6140450"/>
                </a:lnTo>
                <a:lnTo>
                  <a:pt x="10479088" y="6099175"/>
                </a:lnTo>
                <a:lnTo>
                  <a:pt x="10453688" y="6061075"/>
                </a:lnTo>
                <a:lnTo>
                  <a:pt x="10421938" y="6029325"/>
                </a:lnTo>
                <a:lnTo>
                  <a:pt x="10387013" y="6000750"/>
                </a:lnTo>
                <a:lnTo>
                  <a:pt x="10347325" y="5975350"/>
                </a:lnTo>
                <a:lnTo>
                  <a:pt x="10309225" y="5949950"/>
                </a:lnTo>
                <a:lnTo>
                  <a:pt x="10226675" y="5902325"/>
                </a:lnTo>
                <a:close/>
              </a:path>
            </a:pathLst>
          </a:custGeom>
          <a:solidFill>
            <a:schemeClr val="bg2"/>
          </a:solidFill>
        </p:spPr>
        <p:txBody>
          <a:bodyPr vert="horz" wrap="square" lIns="0" tIns="0" rIns="0" bIns="0" rtlCol="0" anchor="t" anchorCtr="0">
            <a:noAutofit/>
          </a:bodyPr>
          <a:lstStyle>
            <a:lvl1pPr marL="0" indent="0" algn="r">
              <a:buNone/>
              <a:defRPr lang="id-ID" b="1" dirty="0">
                <a:solidFill>
                  <a:srgbClr val="F162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algn="r"/>
            <a:r>
              <a:rPr lang="en-US" dirty="0"/>
              <a:t>Click icon to add picture</a:t>
            </a:r>
          </a:p>
          <a:p>
            <a:pPr lvl="0" algn="r"/>
            <a:r>
              <a:rPr lang="en-US" dirty="0"/>
              <a:t>or remove photo frame</a:t>
            </a:r>
            <a:endParaRPr lang="id-ID" dirty="0"/>
          </a:p>
        </p:txBody>
      </p:sp>
      <p:pic>
        <p:nvPicPr>
          <p:cNvPr id="9" name="Picture 3">
            <a:extLst>
              <a:ext uri="{FF2B5EF4-FFF2-40B4-BE49-F238E27FC236}">
                <a16:creationId xmlns:a16="http://schemas.microsoft.com/office/drawing/2014/main" id="{42615BD2-DBC2-4343-8DF8-9969F28A3FE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26315" y="3272915"/>
            <a:ext cx="1342800" cy="311474"/>
          </a:xfrm>
          <a:prstGeom prst="rect">
            <a:avLst/>
          </a:prstGeom>
        </p:spPr>
      </p:pic>
      <p:sp>
        <p:nvSpPr>
          <p:cNvPr id="11" name="Title 3">
            <a:extLst>
              <a:ext uri="{FF2B5EF4-FFF2-40B4-BE49-F238E27FC236}">
                <a16:creationId xmlns:a16="http://schemas.microsoft.com/office/drawing/2014/main" id="{EB967D1A-E798-264D-B1A3-AC4BE60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0641" y="3736975"/>
            <a:ext cx="5261778" cy="1383817"/>
          </a:xfrm>
          <a:prstGeom prst="rect">
            <a:avLst/>
          </a:prstGeom>
        </p:spPr>
        <p:txBody>
          <a:bodyPr vert="horz" lIns="0" tIns="108000" rIns="0" bIns="0" anchor="t" anchorCtr="0">
            <a:noAutofit/>
          </a:bodyPr>
          <a:lstStyle>
            <a:lvl1pPr>
              <a:lnSpc>
                <a:spcPts val="3600"/>
              </a:lnSpc>
              <a:defRPr sz="4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Up to</a:t>
            </a:r>
            <a:br>
              <a:rPr lang="en-GB" dirty="0"/>
            </a:br>
            <a:r>
              <a:rPr lang="en-GB" dirty="0"/>
              <a:t>Three </a:t>
            </a:r>
            <a:br>
              <a:rPr lang="en-GB" dirty="0"/>
            </a:br>
            <a:r>
              <a:rPr lang="en-GB" dirty="0"/>
              <a:t>Lines</a:t>
            </a:r>
            <a:endParaRPr lang="en-BG" dirty="0"/>
          </a:p>
        </p:txBody>
      </p:sp>
      <p:sp>
        <p:nvSpPr>
          <p:cNvPr id="10" name="Rectangle 6">
            <a:extLst>
              <a:ext uri="{FF2B5EF4-FFF2-40B4-BE49-F238E27FC236}">
                <a16:creationId xmlns:a16="http://schemas.microsoft.com/office/drawing/2014/main" id="{473BAE51-FD0F-4746-8109-F3B14362DD28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722312" y="5273378"/>
            <a:ext cx="5278437" cy="441487"/>
          </a:xfrm>
          <a:prstGeom prst="rect">
            <a:avLst/>
          </a:prstGeom>
          <a:ln algn="ctr"/>
        </p:spPr>
        <p:txBody>
          <a:bodyPr lIns="0" tIns="0" rIns="0" bIns="0" anchor="ctr" anchorCtr="0"/>
          <a:lstStyle>
            <a:lvl1pPr marL="0" indent="0">
              <a:buClrTx/>
              <a:buFontTx/>
              <a:buNone/>
              <a:defRPr sz="2400" i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r>
              <a:rPr lang="en-US" dirty="0"/>
              <a:t>Sub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99969722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tems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79DEE5-21BE-4808-BA4C-CB06842D7A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68136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82"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79DEE5-21BE-4808-BA4C-CB06842D7A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Graphic 14">
            <a:extLst>
              <a:ext uri="{FF2B5EF4-FFF2-40B4-BE49-F238E27FC236}">
                <a16:creationId xmlns:a16="http://schemas.microsoft.com/office/drawing/2014/main" id="{394358EC-73B1-7346-9DD7-A7EA513071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-136" t="63658" r="69121" b="5698"/>
          <a:stretch/>
        </p:blipFill>
        <p:spPr>
          <a:xfrm>
            <a:off x="7742498" y="0"/>
            <a:ext cx="4449502" cy="505772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CD3C179-3A96-4AF2-8537-E4515FA2F2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3600" y="538163"/>
            <a:ext cx="5277150" cy="1370012"/>
          </a:xfrm>
        </p:spPr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3 Items / Features </a:t>
            </a:r>
            <a:br>
              <a:rPr lang="en-US" dirty="0"/>
            </a:br>
            <a:r>
              <a:rPr lang="en-US" dirty="0"/>
              <a:t>Illustrated Bullet List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FD370D3D-D3CA-3C4D-90A7-B4F6695127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2313" y="3995254"/>
            <a:ext cx="2528887" cy="2242034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ts val="1800"/>
              </a:lnSpc>
              <a:buFontTx/>
              <a:buNone/>
              <a:defRPr sz="24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Example Text</a:t>
            </a:r>
            <a:endParaRPr lang="en-BG" dirty="0"/>
          </a:p>
        </p:txBody>
      </p:sp>
      <p:sp>
        <p:nvSpPr>
          <p:cNvPr id="14" name="Text Placeholder 18">
            <a:extLst>
              <a:ext uri="{FF2B5EF4-FFF2-40B4-BE49-F238E27FC236}">
                <a16:creationId xmlns:a16="http://schemas.microsoft.com/office/drawing/2014/main" id="{A74254C0-87C4-6447-BE42-8C50D8EB387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2313" y="3191392"/>
            <a:ext cx="2528887" cy="461963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 dirty="0"/>
              <a:t>Item 1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997B06A8-C8E0-6F42-B128-3E481C8C9DC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52813" y="3191392"/>
            <a:ext cx="2547937" cy="461963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 dirty="0"/>
              <a:t>Item 2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532744E4-FE38-1C4D-AEA9-B6C9491152F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78232" y="3191392"/>
            <a:ext cx="2554605" cy="461963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 dirty="0"/>
              <a:t>Item 3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7F468894-980D-FD48-BB74-B04787E1D7C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452813" y="3995254"/>
            <a:ext cx="2547937" cy="2242034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ts val="1800"/>
              </a:lnSpc>
              <a:buFontTx/>
              <a:buNone/>
              <a:defRPr sz="24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Example Text</a:t>
            </a:r>
            <a:endParaRPr lang="en-BG" dirty="0"/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720A29EE-F54E-DD43-8C9D-5DB58C59570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83998" y="3995254"/>
            <a:ext cx="2547937" cy="2242034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ts val="1800"/>
              </a:lnSpc>
              <a:buFontTx/>
              <a:buNone/>
              <a:defRPr sz="24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Example Text</a:t>
            </a:r>
            <a:endParaRPr lang="en-BG" dirty="0"/>
          </a:p>
        </p:txBody>
      </p:sp>
    </p:spTree>
    <p:extLst>
      <p:ext uri="{BB962C8B-B14F-4D97-AF65-F5344CB8AC3E}">
        <p14:creationId xmlns:p14="http://schemas.microsoft.com/office/powerpoint/2010/main" val="301690136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tems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625A317-569A-41B3-A3AE-1CBF90C53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1455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7"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625A317-569A-41B3-A3AE-1CBF90C53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20">
            <a:extLst>
              <a:ext uri="{FF2B5EF4-FFF2-40B4-BE49-F238E27FC236}">
                <a16:creationId xmlns:a16="http://schemas.microsoft.com/office/drawing/2014/main" id="{AEE74F99-8271-C34E-885E-3E090017D8E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2313" y="3995254"/>
            <a:ext cx="2528887" cy="2242034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ts val="1800"/>
              </a:lnSpc>
              <a:buFontTx/>
              <a:buNone/>
              <a:defRPr sz="24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Example Text</a:t>
            </a:r>
            <a:endParaRPr lang="en-BG" dirty="0"/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B721594E-7484-5E47-8564-98DE9C29C25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2313" y="3191392"/>
            <a:ext cx="2528887" cy="461963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 dirty="0"/>
              <a:t>Item 1</a:t>
            </a:r>
          </a:p>
        </p:txBody>
      </p:sp>
      <p:sp>
        <p:nvSpPr>
          <p:cNvPr id="23" name="Text Placeholder 18">
            <a:extLst>
              <a:ext uri="{FF2B5EF4-FFF2-40B4-BE49-F238E27FC236}">
                <a16:creationId xmlns:a16="http://schemas.microsoft.com/office/drawing/2014/main" id="{B1B99D54-15E5-9A44-BD9F-CDC7FA006D1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52813" y="3191392"/>
            <a:ext cx="2547937" cy="461963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 dirty="0"/>
              <a:t>Item 2</a:t>
            </a:r>
          </a:p>
        </p:txBody>
      </p:sp>
      <p:sp>
        <p:nvSpPr>
          <p:cNvPr id="25" name="Text Placeholder 18">
            <a:extLst>
              <a:ext uri="{FF2B5EF4-FFF2-40B4-BE49-F238E27FC236}">
                <a16:creationId xmlns:a16="http://schemas.microsoft.com/office/drawing/2014/main" id="{C56CB44F-A428-A24E-9FD6-03C902B8CB1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78232" y="3191392"/>
            <a:ext cx="2554605" cy="461963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 dirty="0"/>
              <a:t>Item 3</a:t>
            </a:r>
          </a:p>
        </p:txBody>
      </p:sp>
      <p:sp>
        <p:nvSpPr>
          <p:cNvPr id="27" name="Text Placeholder 18">
            <a:extLst>
              <a:ext uri="{FF2B5EF4-FFF2-40B4-BE49-F238E27FC236}">
                <a16:creationId xmlns:a16="http://schemas.microsoft.com/office/drawing/2014/main" id="{4ADD9F6F-04EC-3548-89ED-07083CA31F7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16988" y="3191392"/>
            <a:ext cx="2552700" cy="461963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 dirty="0"/>
              <a:t>Item 4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59572E56-7E01-9B4B-A25B-1F1656B06DE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452813" y="3995254"/>
            <a:ext cx="2547937" cy="2242034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ts val="1800"/>
              </a:lnSpc>
              <a:buFontTx/>
              <a:buNone/>
              <a:defRPr sz="24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Example Text</a:t>
            </a:r>
            <a:endParaRPr lang="en-BG" dirty="0"/>
          </a:p>
        </p:txBody>
      </p:sp>
      <p:sp>
        <p:nvSpPr>
          <p:cNvPr id="15" name="Text Placeholder 20">
            <a:extLst>
              <a:ext uri="{FF2B5EF4-FFF2-40B4-BE49-F238E27FC236}">
                <a16:creationId xmlns:a16="http://schemas.microsoft.com/office/drawing/2014/main" id="{526BD833-CFF8-F541-92F8-E3D36BA6D48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83998" y="3995254"/>
            <a:ext cx="2547937" cy="2242034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ts val="1800"/>
              </a:lnSpc>
              <a:buFontTx/>
              <a:buNone/>
              <a:defRPr sz="24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Example Text</a:t>
            </a:r>
            <a:endParaRPr lang="en-BG" dirty="0"/>
          </a:p>
        </p:txBody>
      </p:sp>
      <p:sp>
        <p:nvSpPr>
          <p:cNvPr id="16" name="Text Placeholder 20">
            <a:extLst>
              <a:ext uri="{FF2B5EF4-FFF2-40B4-BE49-F238E27FC236}">
                <a16:creationId xmlns:a16="http://schemas.microsoft.com/office/drawing/2014/main" id="{57862449-EC25-604D-A3A7-CE54B563354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916988" y="3995254"/>
            <a:ext cx="2552699" cy="2242034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ts val="1800"/>
              </a:lnSpc>
              <a:buFontTx/>
              <a:buNone/>
              <a:defRPr sz="24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Example Text</a:t>
            </a:r>
            <a:endParaRPr lang="en-BG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42960B-5CFE-4CCC-8A7C-819AB126A4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3600" y="538164"/>
            <a:ext cx="5277150" cy="1370012"/>
          </a:xfrm>
        </p:spPr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4 Items / Features </a:t>
            </a:r>
            <a:br>
              <a:rPr lang="en-US" dirty="0"/>
            </a:br>
            <a:r>
              <a:rPr lang="en-US" dirty="0"/>
              <a:t>Illustrated Bullet List</a:t>
            </a:r>
          </a:p>
        </p:txBody>
      </p:sp>
    </p:spTree>
    <p:extLst>
      <p:ext uri="{BB962C8B-B14F-4D97-AF65-F5344CB8AC3E}">
        <p14:creationId xmlns:p14="http://schemas.microsoft.com/office/powerpoint/2010/main" val="283188014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tems list with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0AF44F5-3F68-4F5B-A7E5-CC271941FC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8504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1"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0AF44F5-3F68-4F5B-A7E5-CC271941FC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DFC8C7E7-A516-41B5-9F14-435519410B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3600" y="531537"/>
            <a:ext cx="5277150" cy="1370012"/>
          </a:xfrm>
        </p:spPr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4 Items / Features </a:t>
            </a:r>
            <a:br>
              <a:rPr lang="en-US" dirty="0"/>
            </a:br>
            <a:r>
              <a:rPr lang="en-US" dirty="0"/>
              <a:t>Illustrated Bullet List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6097E424-2284-1C45-8664-943C1775942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2313" y="3995254"/>
            <a:ext cx="2528887" cy="2242034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ts val="1800"/>
              </a:lnSpc>
              <a:buFontTx/>
              <a:buNone/>
              <a:defRPr sz="24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Example Text</a:t>
            </a:r>
            <a:endParaRPr lang="en-BG" dirty="0"/>
          </a:p>
        </p:txBody>
      </p:sp>
      <p:sp>
        <p:nvSpPr>
          <p:cNvPr id="14" name="Text Placeholder 18">
            <a:extLst>
              <a:ext uri="{FF2B5EF4-FFF2-40B4-BE49-F238E27FC236}">
                <a16:creationId xmlns:a16="http://schemas.microsoft.com/office/drawing/2014/main" id="{79C50273-100C-4E43-9758-9D2E2EA1745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22313" y="3191392"/>
            <a:ext cx="2528887" cy="461963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 dirty="0"/>
              <a:t>Item 1</a:t>
            </a:r>
          </a:p>
        </p:txBody>
      </p:sp>
      <p:sp>
        <p:nvSpPr>
          <p:cNvPr id="15" name="Text Placeholder 18">
            <a:extLst>
              <a:ext uri="{FF2B5EF4-FFF2-40B4-BE49-F238E27FC236}">
                <a16:creationId xmlns:a16="http://schemas.microsoft.com/office/drawing/2014/main" id="{FC741B5D-9CA8-0246-A540-76E015AE202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452813" y="3191392"/>
            <a:ext cx="2547937" cy="461963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 dirty="0"/>
              <a:t>Item 2</a:t>
            </a:r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04D2873D-9B96-D247-ADF5-8D2C81C5EB4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178232" y="3191392"/>
            <a:ext cx="2554605" cy="461963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 dirty="0"/>
              <a:t>Item 3</a:t>
            </a:r>
          </a:p>
        </p:txBody>
      </p:sp>
      <p:sp>
        <p:nvSpPr>
          <p:cNvPr id="17" name="Text Placeholder 18">
            <a:extLst>
              <a:ext uri="{FF2B5EF4-FFF2-40B4-BE49-F238E27FC236}">
                <a16:creationId xmlns:a16="http://schemas.microsoft.com/office/drawing/2014/main" id="{96525B51-4D86-3248-877C-36E8C202176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916988" y="3191392"/>
            <a:ext cx="2552700" cy="461963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rgbClr val="00D36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 dirty="0"/>
              <a:t>Item 4</a:t>
            </a:r>
          </a:p>
        </p:txBody>
      </p:sp>
      <p:sp>
        <p:nvSpPr>
          <p:cNvPr id="18" name="Text Placeholder 20">
            <a:extLst>
              <a:ext uri="{FF2B5EF4-FFF2-40B4-BE49-F238E27FC236}">
                <a16:creationId xmlns:a16="http://schemas.microsoft.com/office/drawing/2014/main" id="{98DF9A9E-978E-6D43-8349-0D66C40F2FC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452813" y="3995254"/>
            <a:ext cx="2547937" cy="2242034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ts val="1800"/>
              </a:lnSpc>
              <a:buFontTx/>
              <a:buNone/>
              <a:defRPr sz="24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Example Text</a:t>
            </a:r>
            <a:endParaRPr lang="en-BG" dirty="0"/>
          </a:p>
        </p:txBody>
      </p:sp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451DF4D2-96D5-2345-BF90-56F6C36D8C3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183998" y="3995254"/>
            <a:ext cx="2547937" cy="2242034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ts val="1800"/>
              </a:lnSpc>
              <a:buFontTx/>
              <a:buNone/>
              <a:defRPr sz="24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Example Text</a:t>
            </a:r>
            <a:endParaRPr lang="en-BG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4D5AADC-0189-FA4C-86D9-96588C326A3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916988" y="3995254"/>
            <a:ext cx="2552699" cy="2242034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ts val="1800"/>
              </a:lnSpc>
              <a:buFontTx/>
              <a:buNone/>
              <a:defRPr sz="24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Example Text</a:t>
            </a:r>
            <a:endParaRPr lang="en-BG" dirty="0"/>
          </a:p>
        </p:txBody>
      </p:sp>
    </p:spTree>
    <p:extLst>
      <p:ext uri="{BB962C8B-B14F-4D97-AF65-F5344CB8AC3E}">
        <p14:creationId xmlns:p14="http://schemas.microsoft.com/office/powerpoint/2010/main" val="145271140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items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E63340-CFC6-4DE4-A808-EF24C62FF7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53691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5"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E63340-CFC6-4DE4-A808-EF24C62FF7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E8466CBF-EFEB-BF4E-8EF1-DA6DA515FFA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53741" y="3090365"/>
            <a:ext cx="2627733" cy="1129832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ts val="1800"/>
              </a:lnSpc>
              <a:buFontTx/>
              <a:buNone/>
              <a:defRPr sz="20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Example Text</a:t>
            </a:r>
            <a:endParaRPr lang="en-BG" dirty="0"/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D5DD337E-FCEB-8848-9F17-4A7948DB856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53741" y="2596793"/>
            <a:ext cx="2627733" cy="416859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 dirty="0"/>
              <a:t>Feature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802B59A1-B3EF-2645-B49B-4D774FF780B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53741" y="4430972"/>
            <a:ext cx="2627733" cy="416859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rgbClr val="F162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 dirty="0"/>
              <a:t>Feature</a:t>
            </a:r>
          </a:p>
        </p:txBody>
      </p:sp>
      <p:sp>
        <p:nvSpPr>
          <p:cNvPr id="11" name="Text Placeholder 18">
            <a:extLst>
              <a:ext uri="{FF2B5EF4-FFF2-40B4-BE49-F238E27FC236}">
                <a16:creationId xmlns:a16="http://schemas.microsoft.com/office/drawing/2014/main" id="{76935810-7504-4B45-83F9-2E99FFE8E0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86627" y="2596793"/>
            <a:ext cx="2634018" cy="416859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 dirty="0"/>
              <a:t>Fea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AB2FAA5E-B4A1-764E-B89C-0F89E86576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186627" y="4430972"/>
            <a:ext cx="2634018" cy="416859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rgbClr val="5122B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 dirty="0"/>
              <a:t>Feature</a:t>
            </a:r>
          </a:p>
        </p:txBody>
      </p:sp>
      <p:sp>
        <p:nvSpPr>
          <p:cNvPr id="15" name="Text Placeholder 18">
            <a:extLst>
              <a:ext uri="{FF2B5EF4-FFF2-40B4-BE49-F238E27FC236}">
                <a16:creationId xmlns:a16="http://schemas.microsoft.com/office/drawing/2014/main" id="{580FC978-AF1C-5244-BA36-D990852E29C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40896" y="2596793"/>
            <a:ext cx="2628792" cy="416859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 dirty="0"/>
              <a:t>Feature</a:t>
            </a:r>
          </a:p>
        </p:txBody>
      </p:sp>
      <p:sp>
        <p:nvSpPr>
          <p:cNvPr id="17" name="Text Placeholder 18">
            <a:extLst>
              <a:ext uri="{FF2B5EF4-FFF2-40B4-BE49-F238E27FC236}">
                <a16:creationId xmlns:a16="http://schemas.microsoft.com/office/drawing/2014/main" id="{5DB8FC56-8E45-B642-BA86-CA674617E8D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840896" y="4430972"/>
            <a:ext cx="2628792" cy="416859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 dirty="0"/>
              <a:t>Feature</a:t>
            </a:r>
          </a:p>
        </p:txBody>
      </p:sp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F4FDECCA-8BA0-1E46-959C-40D405A3DD8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86627" y="3090365"/>
            <a:ext cx="2627733" cy="1129832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ts val="1800"/>
              </a:lnSpc>
              <a:buFontTx/>
              <a:buNone/>
              <a:defRPr sz="20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Example Text</a:t>
            </a:r>
            <a:endParaRPr lang="en-BG" dirty="0"/>
          </a:p>
        </p:txBody>
      </p:sp>
      <p:sp>
        <p:nvSpPr>
          <p:cNvPr id="20" name="Text Placeholder 20">
            <a:extLst>
              <a:ext uri="{FF2B5EF4-FFF2-40B4-BE49-F238E27FC236}">
                <a16:creationId xmlns:a16="http://schemas.microsoft.com/office/drawing/2014/main" id="{1D615094-1A97-4D44-963D-B6646A38C7A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840896" y="3090365"/>
            <a:ext cx="2627733" cy="1129832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ts val="1800"/>
              </a:lnSpc>
              <a:buFontTx/>
              <a:buNone/>
              <a:defRPr sz="20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Example Text</a:t>
            </a:r>
            <a:endParaRPr lang="en-BG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C0DC2E1-3303-ED4F-AF0A-C83B26F853C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53741" y="4931521"/>
            <a:ext cx="2627733" cy="1129832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ts val="1800"/>
              </a:lnSpc>
              <a:buFontTx/>
              <a:buNone/>
              <a:defRPr sz="20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Example Text</a:t>
            </a:r>
            <a:endParaRPr lang="en-BG" dirty="0"/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3234F23D-C765-1C43-8BE8-B63E9013F02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186627" y="4931521"/>
            <a:ext cx="2627733" cy="1129832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ts val="1800"/>
              </a:lnSpc>
              <a:buFontTx/>
              <a:buNone/>
              <a:defRPr sz="20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Example Text</a:t>
            </a:r>
            <a:endParaRPr lang="en-BG" dirty="0"/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38C0BF57-A485-B741-AAB8-63E6E654704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0896" y="4931521"/>
            <a:ext cx="2627733" cy="1129832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ts val="1800"/>
              </a:lnSpc>
              <a:buFontTx/>
              <a:buNone/>
              <a:defRPr sz="20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Example Text</a:t>
            </a:r>
            <a:endParaRPr lang="en-BG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FF33FF-9B6D-41BF-97A6-EF8D86B8BD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3600" y="538163"/>
            <a:ext cx="5277150" cy="1370012"/>
          </a:xfrm>
        </p:spPr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6 Items / Features </a:t>
            </a:r>
            <a:br>
              <a:rPr lang="en-US" dirty="0"/>
            </a:br>
            <a:r>
              <a:rPr lang="en-US" dirty="0"/>
              <a:t>Illustrated Bullet List</a:t>
            </a:r>
          </a:p>
        </p:txBody>
      </p:sp>
    </p:spTree>
    <p:extLst>
      <p:ext uri="{BB962C8B-B14F-4D97-AF65-F5344CB8AC3E}">
        <p14:creationId xmlns:p14="http://schemas.microsoft.com/office/powerpoint/2010/main" val="222888040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0EC62F6-95F3-EF43-9346-3E168880B4FF}"/>
              </a:ext>
            </a:extLst>
          </p:cNvPr>
          <p:cNvSpPr/>
          <p:nvPr userDrawn="1"/>
        </p:nvSpPr>
        <p:spPr>
          <a:xfrm>
            <a:off x="0" y="-1990"/>
            <a:ext cx="12192000" cy="1679978"/>
          </a:xfrm>
          <a:prstGeom prst="rect">
            <a:avLst/>
          </a:prstGeom>
          <a:solidFill>
            <a:schemeClr val="accent3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G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 descr="Shape&#10;&#10;Description automatically generated with medium confidence">
            <a:extLst>
              <a:ext uri="{FF2B5EF4-FFF2-40B4-BE49-F238E27FC236}">
                <a16:creationId xmlns:a16="http://schemas.microsoft.com/office/drawing/2014/main" id="{E6441CC9-6AC1-4035-9BC4-BDF048D1E3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965"/>
          <a:stretch/>
        </p:blipFill>
        <p:spPr>
          <a:xfrm>
            <a:off x="0" y="0"/>
            <a:ext cx="12192000" cy="1677988"/>
          </a:xfrm>
          <a:prstGeom prst="rect">
            <a:avLst/>
          </a:prstGeom>
        </p:spPr>
      </p:pic>
      <p:sp>
        <p:nvSpPr>
          <p:cNvPr id="17" name="Text Placeholder 20">
            <a:extLst>
              <a:ext uri="{FF2B5EF4-FFF2-40B4-BE49-F238E27FC236}">
                <a16:creationId xmlns:a16="http://schemas.microsoft.com/office/drawing/2014/main" id="{9F0AE9B3-026B-AC45-B378-4E7D4A063D1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2313" y="5162992"/>
            <a:ext cx="2526055" cy="864746"/>
          </a:xfrm>
          <a:prstGeom prst="rect">
            <a:avLst/>
          </a:prstGeom>
        </p:spPr>
        <p:txBody>
          <a:bodyPr tIns="36000"/>
          <a:lstStyle>
            <a:lvl1pPr marL="0" indent="0" algn="ctr">
              <a:lnSpc>
                <a:spcPts val="1800"/>
              </a:lnSpc>
              <a:buFontTx/>
              <a:buNone/>
              <a:defRPr sz="18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Position</a:t>
            </a:r>
            <a:endParaRPr lang="en-BG" dirty="0"/>
          </a:p>
        </p:txBody>
      </p:sp>
      <p:sp>
        <p:nvSpPr>
          <p:cNvPr id="18" name="Text Placeholder 18">
            <a:extLst>
              <a:ext uri="{FF2B5EF4-FFF2-40B4-BE49-F238E27FC236}">
                <a16:creationId xmlns:a16="http://schemas.microsoft.com/office/drawing/2014/main" id="{683F232C-00AB-6F4D-A5B4-C4B0CB18743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2313" y="4651970"/>
            <a:ext cx="2526055" cy="461594"/>
          </a:xfrm>
          <a:prstGeom prst="rect">
            <a:avLst/>
          </a:prstGeom>
        </p:spPr>
        <p:txBody>
          <a:bodyPr tIns="72000" anchor="ctr" anchorCtr="0"/>
          <a:lstStyle>
            <a:lvl1pPr marL="0" indent="0" algn="ctr">
              <a:lnSpc>
                <a:spcPts val="1800"/>
              </a:lnSpc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 dirty="0"/>
              <a:t>Name 1</a:t>
            </a:r>
          </a:p>
        </p:txBody>
      </p:sp>
      <p:sp>
        <p:nvSpPr>
          <p:cNvPr id="34" name="Picture Placeholder 1">
            <a:extLst>
              <a:ext uri="{FF2B5EF4-FFF2-40B4-BE49-F238E27FC236}">
                <a16:creationId xmlns:a16="http://schemas.microsoft.com/office/drawing/2014/main" id="{CA3015F1-BAB4-1F4C-B181-CBFA2D7E7B9E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953134" y="2355867"/>
            <a:ext cx="2062128" cy="2062128"/>
          </a:xfrm>
          <a:prstGeom prst="ellipse">
            <a:avLst/>
          </a:prstGeom>
          <a:solidFill>
            <a:srgbClr val="DDE9F7"/>
          </a:solidFill>
        </p:spPr>
        <p:txBody>
          <a:bodyPr/>
          <a:lstStyle>
            <a:lvl1pPr marL="0" indent="0" algn="ctr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hr-HR" dirty="0"/>
              <a:t>Picture</a:t>
            </a:r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8609CF4-24AF-E743-B42C-A59B73664181}"/>
              </a:ext>
            </a:extLst>
          </p:cNvPr>
          <p:cNvSpPr txBox="1"/>
          <p:nvPr userDrawn="1"/>
        </p:nvSpPr>
        <p:spPr>
          <a:xfrm>
            <a:off x="1742303" y="4893276"/>
            <a:ext cx="0" cy="0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algn="l"/>
            <a:endParaRPr lang="en-BG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 Placeholder 20">
            <a:extLst>
              <a:ext uri="{FF2B5EF4-FFF2-40B4-BE49-F238E27FC236}">
                <a16:creationId xmlns:a16="http://schemas.microsoft.com/office/drawing/2014/main" id="{94BF50F9-DFCC-104B-98F5-B6944BB6186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53156" y="5162992"/>
            <a:ext cx="2547594" cy="864746"/>
          </a:xfrm>
          <a:prstGeom prst="rect">
            <a:avLst/>
          </a:prstGeom>
        </p:spPr>
        <p:txBody>
          <a:bodyPr tIns="36000"/>
          <a:lstStyle>
            <a:lvl1pPr marL="0" indent="0" algn="ctr">
              <a:lnSpc>
                <a:spcPts val="1800"/>
              </a:lnSpc>
              <a:buFontTx/>
              <a:buNone/>
              <a:defRPr sz="18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Position</a:t>
            </a:r>
            <a:endParaRPr lang="en-BG" dirty="0"/>
          </a:p>
        </p:txBody>
      </p:sp>
      <p:sp>
        <p:nvSpPr>
          <p:cNvPr id="23" name="Text Placeholder 18">
            <a:extLst>
              <a:ext uri="{FF2B5EF4-FFF2-40B4-BE49-F238E27FC236}">
                <a16:creationId xmlns:a16="http://schemas.microsoft.com/office/drawing/2014/main" id="{D150FA14-0936-DB45-99B3-1FDE2503292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53156" y="4651970"/>
            <a:ext cx="2547594" cy="461594"/>
          </a:xfrm>
          <a:prstGeom prst="rect">
            <a:avLst/>
          </a:prstGeom>
        </p:spPr>
        <p:txBody>
          <a:bodyPr tIns="72000" anchor="ctr" anchorCtr="0"/>
          <a:lstStyle>
            <a:lvl1pPr marL="0" indent="0" algn="ctr">
              <a:lnSpc>
                <a:spcPts val="1800"/>
              </a:lnSpc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 dirty="0"/>
              <a:t>Name 2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4DAE994E-61C7-F843-99A7-D08D2A1DAD4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84000" y="5162992"/>
            <a:ext cx="2548838" cy="864746"/>
          </a:xfrm>
          <a:prstGeom prst="rect">
            <a:avLst/>
          </a:prstGeom>
        </p:spPr>
        <p:txBody>
          <a:bodyPr tIns="36000"/>
          <a:lstStyle>
            <a:lvl1pPr marL="0" indent="0" algn="ctr">
              <a:lnSpc>
                <a:spcPts val="1800"/>
              </a:lnSpc>
              <a:buFontTx/>
              <a:buNone/>
              <a:defRPr sz="18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Position</a:t>
            </a:r>
            <a:endParaRPr lang="en-BG" dirty="0"/>
          </a:p>
        </p:txBody>
      </p:sp>
      <p:sp>
        <p:nvSpPr>
          <p:cNvPr id="25" name="Text Placeholder 18">
            <a:extLst>
              <a:ext uri="{FF2B5EF4-FFF2-40B4-BE49-F238E27FC236}">
                <a16:creationId xmlns:a16="http://schemas.microsoft.com/office/drawing/2014/main" id="{6D061C1C-2480-7C45-9198-00064784151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184000" y="4651970"/>
            <a:ext cx="2548838" cy="461594"/>
          </a:xfrm>
          <a:prstGeom prst="rect">
            <a:avLst/>
          </a:prstGeom>
        </p:spPr>
        <p:txBody>
          <a:bodyPr tIns="72000" anchor="ctr" anchorCtr="0"/>
          <a:lstStyle>
            <a:lvl1pPr marL="0" indent="0" algn="ctr">
              <a:lnSpc>
                <a:spcPts val="1800"/>
              </a:lnSpc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 dirty="0"/>
              <a:t>Name 3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C030B60D-3B29-7F43-A48B-809DF02EE93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916988" y="5162992"/>
            <a:ext cx="2552700" cy="864746"/>
          </a:xfrm>
          <a:prstGeom prst="rect">
            <a:avLst/>
          </a:prstGeom>
        </p:spPr>
        <p:txBody>
          <a:bodyPr tIns="36000"/>
          <a:lstStyle>
            <a:lvl1pPr marL="0" indent="0" algn="ctr">
              <a:lnSpc>
                <a:spcPts val="1800"/>
              </a:lnSpc>
              <a:buFontTx/>
              <a:buNone/>
              <a:defRPr sz="18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Position</a:t>
            </a:r>
            <a:endParaRPr lang="en-BG" dirty="0"/>
          </a:p>
        </p:txBody>
      </p:sp>
      <p:sp>
        <p:nvSpPr>
          <p:cNvPr id="27" name="Text Placeholder 18">
            <a:extLst>
              <a:ext uri="{FF2B5EF4-FFF2-40B4-BE49-F238E27FC236}">
                <a16:creationId xmlns:a16="http://schemas.microsoft.com/office/drawing/2014/main" id="{35C3F06D-45B7-6D48-B4D3-D9BA24DD499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916988" y="4651970"/>
            <a:ext cx="2552700" cy="461594"/>
          </a:xfrm>
          <a:prstGeom prst="rect">
            <a:avLst/>
          </a:prstGeom>
        </p:spPr>
        <p:txBody>
          <a:bodyPr tIns="72000" anchor="ctr" anchorCtr="0"/>
          <a:lstStyle>
            <a:lvl1pPr marL="0" indent="0" algn="ctr">
              <a:lnSpc>
                <a:spcPts val="1800"/>
              </a:lnSpc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 dirty="0"/>
              <a:t>Name 4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78F34310-4CB9-974D-814E-3A8A1EACCC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56782" y="574918"/>
            <a:ext cx="5278437" cy="684212"/>
          </a:xfrm>
          <a:prstGeom prst="rect">
            <a:avLst/>
          </a:prstGeom>
        </p:spPr>
        <p:txBody>
          <a:bodyPr tIns="108000" anchor="t">
            <a:noAutofit/>
          </a:bodyPr>
          <a:lstStyle>
            <a:lvl1pPr algn="ctr">
              <a:lnSpc>
                <a:spcPts val="3600"/>
              </a:lnSpc>
              <a:defRPr lang="en-US" sz="4000" b="1" i="0" kern="0" spc="-100" baseline="0" noProof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Team</a:t>
            </a:r>
          </a:p>
        </p:txBody>
      </p:sp>
      <p:sp>
        <p:nvSpPr>
          <p:cNvPr id="21" name="Picture Placeholder 1">
            <a:extLst>
              <a:ext uri="{FF2B5EF4-FFF2-40B4-BE49-F238E27FC236}">
                <a16:creationId xmlns:a16="http://schemas.microsoft.com/office/drawing/2014/main" id="{6C685FB3-0594-E44D-9C2D-EEFCC1F8D2E1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694831" y="2355867"/>
            <a:ext cx="2062127" cy="2062127"/>
          </a:xfrm>
          <a:prstGeom prst="ellipse">
            <a:avLst/>
          </a:prstGeom>
          <a:solidFill>
            <a:srgbClr val="DDE9F7"/>
          </a:solidFill>
        </p:spPr>
        <p:txBody>
          <a:bodyPr/>
          <a:lstStyle>
            <a:lvl1pPr marL="0" indent="0" algn="ctr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hr-HR" dirty="0"/>
              <a:t>Picture</a:t>
            </a:r>
            <a:endParaRPr lang="en-US" dirty="0"/>
          </a:p>
        </p:txBody>
      </p:sp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E7BCD6F9-B8A0-3E40-8E91-435E8E4F7E36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6435044" y="2344391"/>
            <a:ext cx="2073604" cy="2073604"/>
          </a:xfrm>
          <a:prstGeom prst="ellipse">
            <a:avLst/>
          </a:prstGeom>
          <a:solidFill>
            <a:srgbClr val="DDE9F7"/>
          </a:solidFill>
        </p:spPr>
        <p:txBody>
          <a:bodyPr/>
          <a:lstStyle>
            <a:lvl1pPr marL="0" indent="0" algn="ctr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hr-HR" dirty="0"/>
              <a:t>Picture</a:t>
            </a:r>
            <a:endParaRPr lang="en-US" dirty="0"/>
          </a:p>
        </p:txBody>
      </p:sp>
      <p:sp>
        <p:nvSpPr>
          <p:cNvPr id="28" name="Picture Placeholder 1">
            <a:extLst>
              <a:ext uri="{FF2B5EF4-FFF2-40B4-BE49-F238E27FC236}">
                <a16:creationId xmlns:a16="http://schemas.microsoft.com/office/drawing/2014/main" id="{DF915852-F139-C84F-A6C2-A2EF5EAF75F2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9157330" y="2344391"/>
            <a:ext cx="2073603" cy="2073603"/>
          </a:xfrm>
          <a:prstGeom prst="ellipse">
            <a:avLst/>
          </a:prstGeom>
          <a:solidFill>
            <a:srgbClr val="DDE9F7"/>
          </a:solidFill>
        </p:spPr>
        <p:txBody>
          <a:bodyPr/>
          <a:lstStyle>
            <a:lvl1pPr marL="0" indent="0" algn="ctr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hr-HR" dirty="0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183972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A364C0F-A4D3-DC42-8C95-4B00E26A0812}"/>
              </a:ext>
            </a:extLst>
          </p:cNvPr>
          <p:cNvSpPr/>
          <p:nvPr userDrawn="1"/>
        </p:nvSpPr>
        <p:spPr>
          <a:xfrm>
            <a:off x="0" y="0"/>
            <a:ext cx="12192000" cy="1677987"/>
          </a:xfrm>
          <a:prstGeom prst="rect">
            <a:avLst/>
          </a:prstGeom>
          <a:solidFill>
            <a:schemeClr val="accent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G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 descr="Shape, square&#10;&#10;Description automatically generated">
            <a:extLst>
              <a:ext uri="{FF2B5EF4-FFF2-40B4-BE49-F238E27FC236}">
                <a16:creationId xmlns:a16="http://schemas.microsoft.com/office/drawing/2014/main" id="{4B022A70-9734-423F-8439-201D9114DB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965"/>
          <a:stretch/>
        </p:blipFill>
        <p:spPr>
          <a:xfrm>
            <a:off x="0" y="0"/>
            <a:ext cx="12192000" cy="1677988"/>
          </a:xfrm>
          <a:prstGeom prst="rect">
            <a:avLst/>
          </a:prstGeom>
        </p:spPr>
      </p:pic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E90CBC2F-2FE6-E849-A23E-6624002BB1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2313" y="5162992"/>
            <a:ext cx="2526055" cy="864746"/>
          </a:xfrm>
          <a:prstGeom prst="rect">
            <a:avLst/>
          </a:prstGeom>
        </p:spPr>
        <p:txBody>
          <a:bodyPr tIns="36000"/>
          <a:lstStyle>
            <a:lvl1pPr marL="0" indent="0" algn="ctr">
              <a:lnSpc>
                <a:spcPts val="1800"/>
              </a:lnSpc>
              <a:buFontTx/>
              <a:buNone/>
              <a:defRPr sz="18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Position</a:t>
            </a:r>
            <a:endParaRPr lang="en-BG" dirty="0"/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BEF25CF4-59B3-BE42-81BA-5E46207363B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2313" y="4651970"/>
            <a:ext cx="2526055" cy="461594"/>
          </a:xfrm>
          <a:prstGeom prst="rect">
            <a:avLst/>
          </a:prstGeom>
        </p:spPr>
        <p:txBody>
          <a:bodyPr tIns="72000" anchor="ctr" anchorCtr="0"/>
          <a:lstStyle>
            <a:lvl1pPr marL="0" indent="0" algn="ctr">
              <a:lnSpc>
                <a:spcPts val="1800"/>
              </a:lnSpc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 dirty="0"/>
              <a:t>Name 1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435FD64-44C1-0E48-B5ED-A66844CC2EA7}"/>
              </a:ext>
            </a:extLst>
          </p:cNvPr>
          <p:cNvSpPr txBox="1"/>
          <p:nvPr userDrawn="1"/>
        </p:nvSpPr>
        <p:spPr>
          <a:xfrm>
            <a:off x="1742303" y="4893276"/>
            <a:ext cx="0" cy="0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algn="l"/>
            <a:endParaRPr lang="en-BG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Text Placeholder 20">
            <a:extLst>
              <a:ext uri="{FF2B5EF4-FFF2-40B4-BE49-F238E27FC236}">
                <a16:creationId xmlns:a16="http://schemas.microsoft.com/office/drawing/2014/main" id="{70B6830F-8A50-3147-B040-0115CA5BF87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53156" y="5162992"/>
            <a:ext cx="2547594" cy="864746"/>
          </a:xfrm>
          <a:prstGeom prst="rect">
            <a:avLst/>
          </a:prstGeom>
        </p:spPr>
        <p:txBody>
          <a:bodyPr tIns="36000"/>
          <a:lstStyle>
            <a:lvl1pPr marL="0" indent="0" algn="ctr">
              <a:lnSpc>
                <a:spcPts val="1800"/>
              </a:lnSpc>
              <a:buFontTx/>
              <a:buNone/>
              <a:defRPr sz="18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Position</a:t>
            </a:r>
            <a:endParaRPr lang="en-BG" dirty="0"/>
          </a:p>
        </p:txBody>
      </p:sp>
      <p:sp>
        <p:nvSpPr>
          <p:cNvPr id="31" name="Text Placeholder 18">
            <a:extLst>
              <a:ext uri="{FF2B5EF4-FFF2-40B4-BE49-F238E27FC236}">
                <a16:creationId xmlns:a16="http://schemas.microsoft.com/office/drawing/2014/main" id="{FC91BA71-069A-8F4D-80E2-C8697BB4234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53156" y="4651970"/>
            <a:ext cx="2547594" cy="461594"/>
          </a:xfrm>
          <a:prstGeom prst="rect">
            <a:avLst/>
          </a:prstGeom>
        </p:spPr>
        <p:txBody>
          <a:bodyPr tIns="72000" anchor="ctr" anchorCtr="0"/>
          <a:lstStyle>
            <a:lvl1pPr marL="0" indent="0" algn="ctr">
              <a:lnSpc>
                <a:spcPts val="1800"/>
              </a:lnSpc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 dirty="0"/>
              <a:t>Name 2</a:t>
            </a:r>
          </a:p>
        </p:txBody>
      </p:sp>
      <p:sp>
        <p:nvSpPr>
          <p:cNvPr id="32" name="Text Placeholder 20">
            <a:extLst>
              <a:ext uri="{FF2B5EF4-FFF2-40B4-BE49-F238E27FC236}">
                <a16:creationId xmlns:a16="http://schemas.microsoft.com/office/drawing/2014/main" id="{05787F03-F6FF-FC4D-9ED1-40A7F50C89F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84000" y="5162992"/>
            <a:ext cx="2548838" cy="864746"/>
          </a:xfrm>
          <a:prstGeom prst="rect">
            <a:avLst/>
          </a:prstGeom>
        </p:spPr>
        <p:txBody>
          <a:bodyPr tIns="36000"/>
          <a:lstStyle>
            <a:lvl1pPr marL="0" indent="0" algn="ctr">
              <a:lnSpc>
                <a:spcPts val="1800"/>
              </a:lnSpc>
              <a:buFontTx/>
              <a:buNone/>
              <a:defRPr sz="18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Position</a:t>
            </a:r>
            <a:endParaRPr lang="en-BG" dirty="0"/>
          </a:p>
        </p:txBody>
      </p:sp>
      <p:sp>
        <p:nvSpPr>
          <p:cNvPr id="33" name="Text Placeholder 18">
            <a:extLst>
              <a:ext uri="{FF2B5EF4-FFF2-40B4-BE49-F238E27FC236}">
                <a16:creationId xmlns:a16="http://schemas.microsoft.com/office/drawing/2014/main" id="{5616BBF2-7973-DE49-9FF2-B67B2FF846B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184000" y="4651970"/>
            <a:ext cx="2548838" cy="461594"/>
          </a:xfrm>
          <a:prstGeom prst="rect">
            <a:avLst/>
          </a:prstGeom>
        </p:spPr>
        <p:txBody>
          <a:bodyPr tIns="72000" anchor="ctr" anchorCtr="0"/>
          <a:lstStyle>
            <a:lvl1pPr marL="0" indent="0" algn="ctr">
              <a:lnSpc>
                <a:spcPts val="1800"/>
              </a:lnSpc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 dirty="0"/>
              <a:t>Name 3</a:t>
            </a: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6AD7FE0B-1E24-264D-AA5F-C85BAFD01DD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916988" y="5162992"/>
            <a:ext cx="2552700" cy="864746"/>
          </a:xfrm>
          <a:prstGeom prst="rect">
            <a:avLst/>
          </a:prstGeom>
        </p:spPr>
        <p:txBody>
          <a:bodyPr tIns="36000"/>
          <a:lstStyle>
            <a:lvl1pPr marL="0" indent="0" algn="ctr">
              <a:lnSpc>
                <a:spcPts val="1800"/>
              </a:lnSpc>
              <a:buFontTx/>
              <a:buNone/>
              <a:defRPr sz="18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Position</a:t>
            </a:r>
            <a:endParaRPr lang="en-BG" dirty="0"/>
          </a:p>
        </p:txBody>
      </p:sp>
      <p:sp>
        <p:nvSpPr>
          <p:cNvPr id="35" name="Text Placeholder 18">
            <a:extLst>
              <a:ext uri="{FF2B5EF4-FFF2-40B4-BE49-F238E27FC236}">
                <a16:creationId xmlns:a16="http://schemas.microsoft.com/office/drawing/2014/main" id="{FE495FE2-22D3-FB42-AF76-F86CF0F945E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916988" y="4651970"/>
            <a:ext cx="2552700" cy="461594"/>
          </a:xfrm>
          <a:prstGeom prst="rect">
            <a:avLst/>
          </a:prstGeom>
        </p:spPr>
        <p:txBody>
          <a:bodyPr tIns="72000" anchor="ctr" anchorCtr="0"/>
          <a:lstStyle>
            <a:lvl1pPr marL="0" indent="0" algn="ctr">
              <a:lnSpc>
                <a:spcPts val="1800"/>
              </a:lnSpc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 dirty="0"/>
              <a:t>Name 4</a:t>
            </a:r>
          </a:p>
        </p:txBody>
      </p:sp>
      <p:sp>
        <p:nvSpPr>
          <p:cNvPr id="18" name="Picture Placeholder 1">
            <a:extLst>
              <a:ext uri="{FF2B5EF4-FFF2-40B4-BE49-F238E27FC236}">
                <a16:creationId xmlns:a16="http://schemas.microsoft.com/office/drawing/2014/main" id="{0331D3FB-3327-7240-B6AA-7B62FBBF4CFC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953134" y="2355867"/>
            <a:ext cx="2062128" cy="2062128"/>
          </a:xfrm>
          <a:prstGeom prst="ellipse">
            <a:avLst/>
          </a:prstGeom>
          <a:solidFill>
            <a:srgbClr val="DDE9F7"/>
          </a:solidFill>
        </p:spPr>
        <p:txBody>
          <a:bodyPr/>
          <a:lstStyle>
            <a:lvl1pPr marL="0" indent="0" algn="ctr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hr-HR" dirty="0"/>
              <a:t>Picture</a:t>
            </a:r>
            <a:endParaRPr lang="en-US" dirty="0"/>
          </a:p>
        </p:txBody>
      </p:sp>
      <p:sp>
        <p:nvSpPr>
          <p:cNvPr id="20" name="Picture Placeholder 1">
            <a:extLst>
              <a:ext uri="{FF2B5EF4-FFF2-40B4-BE49-F238E27FC236}">
                <a16:creationId xmlns:a16="http://schemas.microsoft.com/office/drawing/2014/main" id="{C95E4137-4213-BE4A-9909-08534641CCEE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694831" y="2355867"/>
            <a:ext cx="2062127" cy="2062127"/>
          </a:xfrm>
          <a:prstGeom prst="ellipse">
            <a:avLst/>
          </a:prstGeom>
          <a:solidFill>
            <a:srgbClr val="DDE9F7"/>
          </a:solidFill>
        </p:spPr>
        <p:txBody>
          <a:bodyPr/>
          <a:lstStyle>
            <a:lvl1pPr marL="0" indent="0" algn="ctr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hr-HR" dirty="0"/>
              <a:t>Picture</a:t>
            </a:r>
            <a:endParaRPr lang="en-US" dirty="0"/>
          </a:p>
        </p:txBody>
      </p:sp>
      <p:sp>
        <p:nvSpPr>
          <p:cNvPr id="23" name="Picture Placeholder 1">
            <a:extLst>
              <a:ext uri="{FF2B5EF4-FFF2-40B4-BE49-F238E27FC236}">
                <a16:creationId xmlns:a16="http://schemas.microsoft.com/office/drawing/2014/main" id="{5FCAAEDD-145E-714F-8193-C07FFCB234C5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6435044" y="2344391"/>
            <a:ext cx="2073604" cy="2073604"/>
          </a:xfrm>
          <a:prstGeom prst="ellipse">
            <a:avLst/>
          </a:prstGeom>
          <a:solidFill>
            <a:srgbClr val="DDE9F7"/>
          </a:solidFill>
        </p:spPr>
        <p:txBody>
          <a:bodyPr/>
          <a:lstStyle>
            <a:lvl1pPr marL="0" indent="0" algn="ctr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hr-HR" dirty="0"/>
              <a:t>Picture</a:t>
            </a:r>
            <a:endParaRPr lang="en-US" dirty="0"/>
          </a:p>
        </p:txBody>
      </p:sp>
      <p:sp>
        <p:nvSpPr>
          <p:cNvPr id="24" name="Picture Placeholder 1">
            <a:extLst>
              <a:ext uri="{FF2B5EF4-FFF2-40B4-BE49-F238E27FC236}">
                <a16:creationId xmlns:a16="http://schemas.microsoft.com/office/drawing/2014/main" id="{21AE5383-EC13-FE4D-996B-BE10161B0155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9157330" y="2344391"/>
            <a:ext cx="2073603" cy="2073603"/>
          </a:xfrm>
          <a:prstGeom prst="ellipse">
            <a:avLst/>
          </a:prstGeom>
          <a:solidFill>
            <a:srgbClr val="DDE9F7"/>
          </a:solidFill>
        </p:spPr>
        <p:txBody>
          <a:bodyPr/>
          <a:lstStyle>
            <a:lvl1pPr marL="0" indent="0" algn="ctr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hr-HR" dirty="0"/>
              <a:t>Picture</a:t>
            </a:r>
            <a:endParaRPr lang="en-US" dirty="0"/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D17A4870-A345-AB4C-A5EA-F85DC0A3B6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56782" y="574918"/>
            <a:ext cx="5278437" cy="684212"/>
          </a:xfrm>
          <a:prstGeom prst="rect">
            <a:avLst/>
          </a:prstGeom>
        </p:spPr>
        <p:txBody>
          <a:bodyPr tIns="108000" anchor="t">
            <a:noAutofit/>
          </a:bodyPr>
          <a:lstStyle>
            <a:lvl1pPr algn="ctr">
              <a:lnSpc>
                <a:spcPts val="3600"/>
              </a:lnSpc>
              <a:defRPr lang="en-US" sz="4000" b="1" i="0" kern="0" spc="-100" baseline="0" noProof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Team</a:t>
            </a:r>
          </a:p>
        </p:txBody>
      </p:sp>
    </p:spTree>
    <p:extLst>
      <p:ext uri="{BB962C8B-B14F-4D97-AF65-F5344CB8AC3E}">
        <p14:creationId xmlns:p14="http://schemas.microsoft.com/office/powerpoint/2010/main" val="419303599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ller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880A557-7E11-DF49-8186-7D04ACC7527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23600" y="1447799"/>
            <a:ext cx="3459162" cy="2289176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BG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B7890FB8-2450-AF47-8169-9C8D93F61AF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366419" y="1447799"/>
            <a:ext cx="3459162" cy="2289176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BG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07D44DAC-CC6B-0F46-B9C2-4D41210383D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012144" y="1447799"/>
            <a:ext cx="3459162" cy="2289176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BG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B1EB8CBC-CB7B-C44C-95E3-E1FED843D54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23600" y="3968749"/>
            <a:ext cx="3459162" cy="2268539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BG"/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7C37F377-AED4-8643-ABAC-55E992161DA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66419" y="3968749"/>
            <a:ext cx="3459162" cy="2268539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BG"/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E4E77DCE-0609-D747-AD06-96FFA6F1B7F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12144" y="3968749"/>
            <a:ext cx="3459162" cy="2268539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BG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5EC4521C-3907-8345-BCE7-B2B57F767D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2313" y="538164"/>
            <a:ext cx="5278437" cy="455612"/>
          </a:xfrm>
        </p:spPr>
        <p:txBody>
          <a:bodyPr tIns="108000"/>
          <a:lstStyle/>
          <a:p>
            <a:r>
              <a:rPr lang="en-GB" dirty="0"/>
              <a:t>Gallery</a:t>
            </a:r>
            <a:endParaRPr lang="en-BG" dirty="0"/>
          </a:p>
        </p:txBody>
      </p:sp>
    </p:spTree>
    <p:extLst>
      <p:ext uri="{BB962C8B-B14F-4D97-AF65-F5344CB8AC3E}">
        <p14:creationId xmlns:p14="http://schemas.microsoft.com/office/powerpoint/2010/main" val="36464458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ller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880A557-7E11-DF49-8186-7D04ACC7527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23599" y="540592"/>
            <a:ext cx="5277151" cy="3196383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BG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B1EB8CBC-CB7B-C44C-95E3-E1FED843D54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23600" y="3968749"/>
            <a:ext cx="3459162" cy="2268539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BG"/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7C37F377-AED4-8643-ABAC-55E992161DA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66419" y="3968749"/>
            <a:ext cx="3459162" cy="2268539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BG"/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E4E77DCE-0609-D747-AD06-96FFA6F1B7F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12144" y="3968749"/>
            <a:ext cx="3459162" cy="2268539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BG"/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ECD3F542-BAEB-BF43-8CC7-6AE1B6CD7BA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186249" y="540592"/>
            <a:ext cx="5285057" cy="3196383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70620021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llery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07D44DAC-CC6B-0F46-B9C2-4D41210383D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474953" y="538162"/>
            <a:ext cx="7994735" cy="5700713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BG"/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C1BB0AAA-8E52-7C4C-BDDE-3224E5B3F04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22313" y="538162"/>
            <a:ext cx="2528887" cy="1772343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BG" dirty="0"/>
          </a:p>
        </p:txBody>
      </p:sp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8F03D34F-2A66-9E43-994D-383F3ECA192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22313" y="2502347"/>
            <a:ext cx="2528887" cy="1772343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BG"/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85658B3-58BD-0048-9121-06A4152FE3D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22313" y="4466532"/>
            <a:ext cx="2528887" cy="1772343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157254699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1">
            <a:extLst>
              <a:ext uri="{FF2B5EF4-FFF2-40B4-BE49-F238E27FC236}">
                <a16:creationId xmlns:a16="http://schemas.microsoft.com/office/drawing/2014/main" id="{5FB11B1B-3F3D-604C-9EB4-5E5126F9567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88825" cy="686020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Ins="503999" anchor="ctr" anchorCtr="0"/>
          <a:lstStyle>
            <a:lvl1pPr marL="0" indent="0" algn="r">
              <a:lnSpc>
                <a:spcPts val="3860"/>
              </a:lnSpc>
              <a:buFontTx/>
              <a:buNone/>
              <a:defRPr sz="4800">
                <a:solidFill>
                  <a:srgbClr val="F162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BG" dirty="0"/>
              <a:t>                Picture </a:t>
            </a:r>
            <a:br>
              <a:rPr lang="en-BG" dirty="0"/>
            </a:br>
            <a:r>
              <a:rPr lang="en-BG" dirty="0"/>
              <a:t>Placeholder</a:t>
            </a: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DC19264-1961-4652-B02A-E3432B012D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6646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9"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DC19264-1961-4652-B02A-E3432B012D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292E8C3-F64F-4C68-BE86-5BC9BDB4D75C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69766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 dirty="0">
              <a:solidFill>
                <a:schemeClr val="bg1">
                  <a:alpha val="69766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97196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Green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71724D4-36EF-F249-838C-3689608AF6E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G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AFED4F88-4F8F-456C-B545-1EA180BAE73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1763375" cy="6858000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83868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8" name="think-cell Slide" r:id="rId5" imgW="349" imgH="349" progId="TCLayout.ActiveDocument.1">
                  <p:embed/>
                </p:oleObj>
              </mc:Choice>
              <mc:Fallback>
                <p:oleObj name="think-cell Slide" r:id="rId5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3">
            <a:extLst>
              <a:ext uri="{FF2B5EF4-FFF2-40B4-BE49-F238E27FC236}">
                <a16:creationId xmlns:a16="http://schemas.microsoft.com/office/drawing/2014/main" id="{42615BD2-DBC2-4343-8DF8-9969F28A3FE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26315" y="3272915"/>
            <a:ext cx="1342800" cy="311474"/>
          </a:xfrm>
          <a:prstGeom prst="rect">
            <a:avLst/>
          </a:prstGeom>
        </p:spPr>
      </p:pic>
      <p:sp>
        <p:nvSpPr>
          <p:cNvPr id="11" name="Title 3">
            <a:extLst>
              <a:ext uri="{FF2B5EF4-FFF2-40B4-BE49-F238E27FC236}">
                <a16:creationId xmlns:a16="http://schemas.microsoft.com/office/drawing/2014/main" id="{EB967D1A-E798-264D-B1A3-AC4BE60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0641" y="3736975"/>
            <a:ext cx="5261778" cy="1383817"/>
          </a:xfrm>
          <a:prstGeom prst="rect">
            <a:avLst/>
          </a:prstGeom>
        </p:spPr>
        <p:txBody>
          <a:bodyPr vert="horz" lIns="0" tIns="108000" rIns="0" bIns="0" anchor="t" anchorCtr="0">
            <a:noAutofit/>
          </a:bodyPr>
          <a:lstStyle>
            <a:lvl1pPr>
              <a:lnSpc>
                <a:spcPts val="3600"/>
              </a:lnSpc>
              <a:defRPr sz="4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Up to</a:t>
            </a:r>
            <a:br>
              <a:rPr lang="en-GB" dirty="0"/>
            </a:br>
            <a:r>
              <a:rPr lang="en-GB" dirty="0"/>
              <a:t>Three </a:t>
            </a:r>
            <a:br>
              <a:rPr lang="en-GB" dirty="0"/>
            </a:br>
            <a:r>
              <a:rPr lang="en-GB" dirty="0"/>
              <a:t>Lines</a:t>
            </a:r>
            <a:endParaRPr lang="en-BG" dirty="0"/>
          </a:p>
        </p:txBody>
      </p:sp>
      <p:sp>
        <p:nvSpPr>
          <p:cNvPr id="10" name="Rectangle 6">
            <a:extLst>
              <a:ext uri="{FF2B5EF4-FFF2-40B4-BE49-F238E27FC236}">
                <a16:creationId xmlns:a16="http://schemas.microsoft.com/office/drawing/2014/main" id="{7C3FF833-110B-2842-8181-E026C0AE7476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722312" y="5273378"/>
            <a:ext cx="5278437" cy="441487"/>
          </a:xfrm>
          <a:prstGeom prst="rect">
            <a:avLst/>
          </a:prstGeom>
          <a:ln algn="ctr"/>
        </p:spPr>
        <p:txBody>
          <a:bodyPr lIns="0" tIns="0" rIns="0" bIns="0" anchor="ctr" anchorCtr="0"/>
          <a:lstStyle>
            <a:lvl1pPr marL="0" indent="0">
              <a:buClrTx/>
              <a:buFontTx/>
              <a:buNone/>
              <a:defRPr sz="2400" i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r>
              <a:rPr lang="en-US" dirty="0"/>
              <a:t>Sub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03112254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A64ED-6E44-CE40-884C-C1F33608612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30519" y="2877420"/>
            <a:ext cx="4730962" cy="1103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84708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rogress Outro no text.mp4" descr="Progress Outro no text.mp4">
            <a:hlinkClick r:id="" action="ppaction://media"/>
            <a:extLst>
              <a:ext uri="{FF2B5EF4-FFF2-40B4-BE49-F238E27FC236}">
                <a16:creationId xmlns:a16="http://schemas.microsoft.com/office/drawing/2014/main" id="{5A546D01-834F-CB40-93EC-185C473ACE24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ABA8C2F-EEB5-964C-B283-39542BF4C40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30519" y="2877420"/>
            <a:ext cx="4730962" cy="1103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71157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8" dur="6016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9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3652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50"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623DD92-F612-5A4B-B6A7-0887458ED7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2313" y="1885873"/>
            <a:ext cx="5278437" cy="4162721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9" name="Title Placeholder 7">
            <a:extLst>
              <a:ext uri="{FF2B5EF4-FFF2-40B4-BE49-F238E27FC236}">
                <a16:creationId xmlns:a16="http://schemas.microsoft.com/office/drawing/2014/main" id="{926C0B3B-05EA-CB4C-8298-3E30D48F23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4"/>
            <a:ext cx="5278437" cy="1130526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>
            <a:lvl1pPr>
              <a:defRPr sz="4000"/>
            </a:lvl1pPr>
          </a:lstStyle>
          <a:p>
            <a:r>
              <a:rPr lang="en-GB" dirty="0"/>
              <a:t>Click to edit Master title style</a:t>
            </a:r>
            <a:endParaRPr lang="en-BG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BEB901A0-A63B-44BE-9928-1BA455334FD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998463" y="0"/>
            <a:ext cx="619353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28811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20581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74"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CF16DD0-B56B-A04C-A0A8-6ADC7F5A851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2313" y="1882728"/>
            <a:ext cx="5278437" cy="4154715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9" name="Title Placeholder 7">
            <a:extLst>
              <a:ext uri="{FF2B5EF4-FFF2-40B4-BE49-F238E27FC236}">
                <a16:creationId xmlns:a16="http://schemas.microsoft.com/office/drawing/2014/main" id="{6C447A6B-E87C-9A42-8E46-8CE8E1730B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4"/>
            <a:ext cx="5278437" cy="1130526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/>
          <a:p>
            <a:r>
              <a:rPr lang="en-GB" dirty="0"/>
              <a:t>Click to edit Master title style</a:t>
            </a:r>
            <a:endParaRPr lang="en-BG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20CF4B4-0184-4909-9086-FB77EB4D5C2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558977" y="0"/>
            <a:ext cx="6633023" cy="6858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71169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Background pattern&#10;&#10;Description automatically generated">
            <a:extLst>
              <a:ext uri="{FF2B5EF4-FFF2-40B4-BE49-F238E27FC236}">
                <a16:creationId xmlns:a16="http://schemas.microsoft.com/office/drawing/2014/main" id="{74C79588-1FE1-4CDA-B32E-63BF1A99933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6B2E4E0-B8DD-4922-949D-C7084FC2C8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1641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26" name="think-cell Slide" r:id="rId5" imgW="349" imgH="349" progId="TCLayout.ActiveDocument.1">
                  <p:embed/>
                </p:oleObj>
              </mc:Choice>
              <mc:Fallback>
                <p:oleObj name="think-cell Slide" r:id="rId5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6B2E4E0-B8DD-4922-949D-C7084FC2C8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21E477A-A006-6C49-BE36-436BBA49EDFA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69766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 dirty="0">
              <a:solidFill>
                <a:schemeClr val="bg1">
                  <a:alpha val="69766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93D826D9-3D3E-476E-A11B-913B3AC8767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94075" y="6453499"/>
            <a:ext cx="939600" cy="217948"/>
          </a:xfrm>
          <a:prstGeom prst="rect">
            <a:avLst/>
          </a:prstGeom>
        </p:spPr>
      </p:pic>
      <p:sp>
        <p:nvSpPr>
          <p:cNvPr id="7" name="Rectangle 3">
            <a:extLst>
              <a:ext uri="{FF2B5EF4-FFF2-40B4-BE49-F238E27FC236}">
                <a16:creationId xmlns:a16="http://schemas.microsoft.com/office/drawing/2014/main" id="{5B538863-68A3-644B-8B9A-9DB40A50F50B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2609126" y="2592388"/>
            <a:ext cx="6973747" cy="1606550"/>
          </a:xfrm>
          <a:prstGeom prst="rect">
            <a:avLst/>
          </a:prstGeom>
          <a:ln algn="ctr"/>
        </p:spPr>
        <p:txBody>
          <a:bodyPr vert="horz" lIns="0" tIns="0" rIns="0" bIns="0" anchor="ctr" anchorCtr="0">
            <a:noAutofit/>
          </a:bodyPr>
          <a:lstStyle>
            <a:lvl1pPr algn="ctr">
              <a:lnSpc>
                <a:spcPts val="3600"/>
              </a:lnSpc>
              <a:defRPr sz="4000" b="1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r>
              <a:rPr lang="en-US" dirty="0"/>
              <a:t>Centered Title Style</a:t>
            </a:r>
            <a:br>
              <a:rPr lang="en-US" dirty="0"/>
            </a:br>
            <a:r>
              <a:rPr lang="en-US" dirty="0"/>
              <a:t>Up to</a:t>
            </a:r>
            <a:br>
              <a:rPr lang="en-US" dirty="0"/>
            </a:br>
            <a:r>
              <a:rPr lang="en-US" dirty="0"/>
              <a:t>Three Lin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4F55290-69B1-864A-8ECE-A49757FA39FA}"/>
              </a:ext>
            </a:extLst>
          </p:cNvPr>
          <p:cNvSpPr txBox="1"/>
          <p:nvPr userDrawn="1"/>
        </p:nvSpPr>
        <p:spPr>
          <a:xfrm>
            <a:off x="4507424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</a:t>
            </a:r>
            <a:r>
              <a:rPr lang="en-US" sz="600" b="0" i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0152703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Background pattern&#10;&#10;Description automatically generated">
            <a:extLst>
              <a:ext uri="{FF2B5EF4-FFF2-40B4-BE49-F238E27FC236}">
                <a16:creationId xmlns:a16="http://schemas.microsoft.com/office/drawing/2014/main" id="{664C5359-6168-450F-A3B2-F9B3EC03B1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CB40B33-A7C9-794A-8DD4-F029935874E2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69766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 dirty="0">
              <a:solidFill>
                <a:schemeClr val="bg1">
                  <a:alpha val="69766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550B0453-9552-405E-BEEB-A3A1CB1E158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94075" y="6453499"/>
            <a:ext cx="939600" cy="217948"/>
          </a:xfrm>
          <a:prstGeom prst="rect">
            <a:avLst/>
          </a:prstGeom>
        </p:spPr>
      </p:pic>
      <p:sp>
        <p:nvSpPr>
          <p:cNvPr id="7" name="Rectangle 3">
            <a:extLst>
              <a:ext uri="{FF2B5EF4-FFF2-40B4-BE49-F238E27FC236}">
                <a16:creationId xmlns:a16="http://schemas.microsoft.com/office/drawing/2014/main" id="{65F74E2B-B2FC-9A42-9B6A-5C0ED73A15B6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2609126" y="2592388"/>
            <a:ext cx="6973747" cy="1606550"/>
          </a:xfrm>
          <a:prstGeom prst="rect">
            <a:avLst/>
          </a:prstGeom>
          <a:ln algn="ctr"/>
        </p:spPr>
        <p:txBody>
          <a:bodyPr vert="horz" lIns="0" tIns="0" rIns="0" bIns="0" anchor="ctr" anchorCtr="0">
            <a:noAutofit/>
          </a:bodyPr>
          <a:lstStyle>
            <a:lvl1pPr algn="ctr">
              <a:lnSpc>
                <a:spcPts val="3600"/>
              </a:lnSpc>
              <a:defRPr sz="4000" b="1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r>
              <a:rPr lang="en-US" dirty="0"/>
              <a:t>Centered Title Style</a:t>
            </a:r>
            <a:br>
              <a:rPr lang="en-US" dirty="0"/>
            </a:br>
            <a:r>
              <a:rPr lang="en-US" dirty="0"/>
              <a:t>Up to</a:t>
            </a:r>
            <a:br>
              <a:rPr lang="en-US" dirty="0"/>
            </a:br>
            <a:r>
              <a:rPr lang="en-US" dirty="0"/>
              <a:t>Three Lin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86C245B-9648-EA4E-836E-6BBB5FA39829}"/>
              </a:ext>
            </a:extLst>
          </p:cNvPr>
          <p:cNvSpPr txBox="1"/>
          <p:nvPr userDrawn="1"/>
        </p:nvSpPr>
        <p:spPr>
          <a:xfrm>
            <a:off x="4507424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</a:t>
            </a:r>
            <a:r>
              <a:rPr lang="en-US" sz="600" b="0" i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11629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vmlDrawing" Target="../drawings/vmlDrawing1.vml"/><Relationship Id="rId58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image" Target="../media/image3.svg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hyperlink" Target="https://www.progress.com/" TargetMode="Externa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D4BAA7-03DD-44E7-AAFA-2970D3D54D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4"/>
            </p:custDataLst>
            <p:extLst>
              <p:ext uri="{D42A27DB-BD31-4B8C-83A1-F6EECF244321}">
                <p14:modId xmlns:p14="http://schemas.microsoft.com/office/powerpoint/2010/main" val="27971184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86" name="think-cell Slide" r:id="rId55" imgW="349" imgH="349" progId="TCLayout.ActiveDocument.1">
                  <p:embed/>
                </p:oleObj>
              </mc:Choice>
              <mc:Fallback>
                <p:oleObj name="think-cell Slide" r:id="rId55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AD4BAA7-03DD-44E7-AAFA-2970D3D54D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7A4882C-43B6-4419-AD7D-B146CF7A77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23600" y="1677989"/>
            <a:ext cx="10746088" cy="453699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736C8E14-F9BC-E647-849A-249E89A17F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600" y="538163"/>
            <a:ext cx="10746088" cy="909637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/>
          <a:p>
            <a:r>
              <a:rPr lang="en-GB" dirty="0"/>
              <a:t>Click to edit Master title style</a:t>
            </a:r>
            <a:endParaRPr lang="en-BG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B7AB045D-1123-C741-B93A-5E364D752A5C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0" i="0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0" i="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D00406F-91C3-374E-A473-E987487E33DA}"/>
              </a:ext>
            </a:extLst>
          </p:cNvPr>
          <p:cNvSpPr txBox="1"/>
          <p:nvPr userDrawn="1"/>
        </p:nvSpPr>
        <p:spPr>
          <a:xfrm>
            <a:off x="4507424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</a:t>
            </a:r>
            <a:r>
              <a:rPr lang="en-US" sz="600" b="0" i="0" spc="0" baseline="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  <p:pic>
        <p:nvPicPr>
          <p:cNvPr id="9" name="Picture 2">
            <a:hlinkClick r:id="rId57"/>
            <a:extLst>
              <a:ext uri="{FF2B5EF4-FFF2-40B4-BE49-F238E27FC236}">
                <a16:creationId xmlns:a16="http://schemas.microsoft.com/office/drawing/2014/main" id="{C68807BC-3337-44CB-B44B-34553DF69BB0}"/>
              </a:ext>
            </a:extLst>
          </p:cNvPr>
          <p:cNvPicPr>
            <a:picLocks noChangeAspect="1"/>
          </p:cNvPicPr>
          <p:nvPr userDrawn="1"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9"/>
              </a:ext>
            </a:extLst>
          </a:blip>
          <a:srcRect/>
          <a:stretch/>
        </p:blipFill>
        <p:spPr>
          <a:xfrm>
            <a:off x="494075" y="6453499"/>
            <a:ext cx="939600" cy="217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54654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728" r:id="rId2"/>
    <p:sldLayoutId id="2147483861" r:id="rId3"/>
    <p:sldLayoutId id="2147483809" r:id="rId4"/>
    <p:sldLayoutId id="2147483862" r:id="rId5"/>
    <p:sldLayoutId id="2147483815" r:id="rId6"/>
    <p:sldLayoutId id="2147483817" r:id="rId7"/>
    <p:sldLayoutId id="2147483810" r:id="rId8"/>
    <p:sldLayoutId id="2147483811" r:id="rId9"/>
    <p:sldLayoutId id="2147483812" r:id="rId10"/>
    <p:sldLayoutId id="2147483840" r:id="rId11"/>
    <p:sldLayoutId id="2147483841" r:id="rId12"/>
    <p:sldLayoutId id="2147483800" r:id="rId13"/>
    <p:sldLayoutId id="2147483819" r:id="rId14"/>
    <p:sldLayoutId id="2147483820" r:id="rId15"/>
    <p:sldLayoutId id="2147483649" r:id="rId16"/>
    <p:sldLayoutId id="2147483727" r:id="rId17"/>
    <p:sldLayoutId id="2147483859" r:id="rId18"/>
    <p:sldLayoutId id="2147483857" r:id="rId19"/>
    <p:sldLayoutId id="2147483858" r:id="rId20"/>
    <p:sldLayoutId id="2147483845" r:id="rId21"/>
    <p:sldLayoutId id="2147483726" r:id="rId22"/>
    <p:sldLayoutId id="2147483821" r:id="rId23"/>
    <p:sldLayoutId id="2147483822" r:id="rId24"/>
    <p:sldLayoutId id="2147483824" r:id="rId25"/>
    <p:sldLayoutId id="2147483827" r:id="rId26"/>
    <p:sldLayoutId id="2147483826" r:id="rId27"/>
    <p:sldLayoutId id="2147483730" r:id="rId28"/>
    <p:sldLayoutId id="2147483837" r:id="rId29"/>
    <p:sldLayoutId id="2147483851" r:id="rId30"/>
    <p:sldLayoutId id="2147483852" r:id="rId31"/>
    <p:sldLayoutId id="2147483732" r:id="rId32"/>
    <p:sldLayoutId id="2147483838" r:id="rId33"/>
    <p:sldLayoutId id="2147483839" r:id="rId34"/>
    <p:sldLayoutId id="2147483853" r:id="rId35"/>
    <p:sldLayoutId id="2147483854" r:id="rId36"/>
    <p:sldLayoutId id="2147483835" r:id="rId37"/>
    <p:sldLayoutId id="2147483836" r:id="rId38"/>
    <p:sldLayoutId id="2147483792" r:id="rId39"/>
    <p:sldLayoutId id="2147483799" r:id="rId40"/>
    <p:sldLayoutId id="2147483793" r:id="rId41"/>
    <p:sldLayoutId id="2147483823" r:id="rId42"/>
    <p:sldLayoutId id="2147483798" r:id="rId43"/>
    <p:sldLayoutId id="2147483842" r:id="rId44"/>
    <p:sldLayoutId id="2147483846" r:id="rId45"/>
    <p:sldLayoutId id="2147483833" r:id="rId46"/>
    <p:sldLayoutId id="2147483850" r:id="rId47"/>
    <p:sldLayoutId id="2147483849" r:id="rId48"/>
    <p:sldLayoutId id="2147483794" r:id="rId49"/>
    <p:sldLayoutId id="2147483855" r:id="rId50"/>
    <p:sldLayoutId id="2147483856" r:id="rId51"/>
  </p:sldLayoutIdLst>
  <p:txStyles>
    <p:titleStyle>
      <a:lvl1pPr algn="l" defTabSz="914400" rtl="0" eaLnBrk="1" latinLnBrk="0" hangingPunct="1">
        <a:lnSpc>
          <a:spcPts val="3600"/>
        </a:lnSpc>
        <a:spcBef>
          <a:spcPct val="0"/>
        </a:spcBef>
        <a:buNone/>
        <a:defRPr sz="4000" b="1" i="0" kern="1200" spc="-100" baseline="0">
          <a:solidFill>
            <a:schemeClr val="tx1">
              <a:lumMod val="85000"/>
              <a:lumOff val="15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buClr>
          <a:schemeClr val="accent3"/>
        </a:buClr>
        <a:buSzPct val="125000"/>
        <a:buFont typeface="Arial" panose="020B0604020202020204" pitchFamily="34" charset="0"/>
        <a:buNone/>
        <a:tabLst/>
        <a:defRPr sz="2400" b="0" i="0" kern="1200" spc="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0" indent="0" algn="l" defTabSz="914400" rtl="0" eaLnBrk="1" latinLnBrk="0" hangingPunct="1">
        <a:lnSpc>
          <a:spcPct val="120000"/>
        </a:lnSpc>
        <a:spcBef>
          <a:spcPts val="0"/>
        </a:spcBef>
        <a:buClr>
          <a:schemeClr val="tx2"/>
        </a:buClr>
        <a:buSzPct val="110000"/>
        <a:buFont typeface="Arial" panose="020B0604020202020204" pitchFamily="34" charset="0"/>
        <a:buNone/>
        <a:tabLst/>
        <a:defRPr sz="2400" b="0" i="0" kern="1200" spc="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361950" indent="-180975" algn="l" defTabSz="914400" rtl="0" eaLnBrk="1" latinLnBrk="0" hangingPunct="1">
        <a:lnSpc>
          <a:spcPct val="120000"/>
        </a:lnSpc>
        <a:spcBef>
          <a:spcPts val="0"/>
        </a:spcBef>
        <a:buClr>
          <a:schemeClr val="tx1"/>
        </a:buClr>
        <a:buFont typeface="Arial" panose="020B0503030202060203" pitchFamily="34" charset="0"/>
        <a:buChar char="–"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542925" indent="-180975" algn="l" defTabSz="914400" rtl="0" eaLnBrk="1" latinLnBrk="0" hangingPunct="1">
        <a:lnSpc>
          <a:spcPct val="120000"/>
        </a:lnSpc>
        <a:spcBef>
          <a:spcPts val="0"/>
        </a:spcBef>
        <a:buClr>
          <a:schemeClr val="tx1">
            <a:lumMod val="50000"/>
            <a:lumOff val="50000"/>
          </a:schemeClr>
        </a:buClr>
        <a:buSzPct val="85000"/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714375" indent="-171450" algn="l" defTabSz="914400" rtl="0" eaLnBrk="1" latinLnBrk="0" hangingPunct="1">
        <a:lnSpc>
          <a:spcPct val="120000"/>
        </a:lnSpc>
        <a:spcBef>
          <a:spcPts val="0"/>
        </a:spcBef>
        <a:buFont typeface="Arial" panose="020B0503030202060203" pitchFamily="34" charset="0"/>
        <a:buChar char="–"/>
        <a:defRPr sz="2400" b="0" i="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d-ID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81" userDrawn="1">
          <p15:clr>
            <a:srgbClr val="A4A3A4"/>
          </p15:clr>
        </p15:guide>
        <p15:guide id="2" pos="455" userDrawn="1">
          <p15:clr>
            <a:srgbClr val="9FCC3B"/>
          </p15:clr>
        </p15:guide>
        <p15:guide id="4" pos="7225" userDrawn="1">
          <p15:clr>
            <a:srgbClr val="F26B43"/>
          </p15:clr>
        </p15:guide>
        <p15:guide id="7" orient="horz" pos="3929" userDrawn="1">
          <p15:clr>
            <a:srgbClr val="F26B43"/>
          </p15:clr>
        </p15:guide>
        <p15:guide id="8" orient="horz" pos="339" userDrawn="1">
          <p15:clr>
            <a:srgbClr val="F26B43"/>
          </p15:clr>
        </p15:guide>
        <p15:guide id="9" orient="horz" pos="626" userDrawn="1">
          <p15:clr>
            <a:srgbClr val="A4A3A4"/>
          </p15:clr>
        </p15:guide>
        <p15:guide id="10" orient="horz" pos="766" userDrawn="1">
          <p15:clr>
            <a:srgbClr val="A4A3A4"/>
          </p15:clr>
        </p15:guide>
        <p15:guide id="11" orient="horz" pos="912" userDrawn="1">
          <p15:clr>
            <a:srgbClr val="A4A3A4"/>
          </p15:clr>
        </p15:guide>
        <p15:guide id="12" orient="horz" pos="1057" userDrawn="1">
          <p15:clr>
            <a:srgbClr val="A4A3A4"/>
          </p15:clr>
        </p15:guide>
        <p15:guide id="13" orient="horz" pos="1202" userDrawn="1">
          <p15:clr>
            <a:srgbClr val="A4A3A4"/>
          </p15:clr>
        </p15:guide>
        <p15:guide id="14" orient="horz" pos="1344" userDrawn="1">
          <p15:clr>
            <a:srgbClr val="A4A3A4"/>
          </p15:clr>
        </p15:guide>
        <p15:guide id="15" orient="horz" pos="1488" userDrawn="1">
          <p15:clr>
            <a:srgbClr val="A4A3A4"/>
          </p15:clr>
        </p15:guide>
        <p15:guide id="16" orient="horz" pos="1633" userDrawn="1">
          <p15:clr>
            <a:srgbClr val="A4A3A4"/>
          </p15:clr>
        </p15:guide>
        <p15:guide id="17" orient="horz" pos="1778" userDrawn="1">
          <p15:clr>
            <a:srgbClr val="A4A3A4"/>
          </p15:clr>
        </p15:guide>
        <p15:guide id="18" orient="horz" pos="1924" userDrawn="1">
          <p15:clr>
            <a:srgbClr val="A4A3A4"/>
          </p15:clr>
        </p15:guide>
        <p15:guide id="19" orient="horz" pos="2064" userDrawn="1">
          <p15:clr>
            <a:srgbClr val="A4A3A4"/>
          </p15:clr>
        </p15:guide>
        <p15:guide id="20" orient="horz" pos="2215" userDrawn="1">
          <p15:clr>
            <a:srgbClr val="A4A3A4"/>
          </p15:clr>
        </p15:guide>
        <p15:guide id="21" orient="horz" pos="2354" userDrawn="1">
          <p15:clr>
            <a:srgbClr val="A4A3A4"/>
          </p15:clr>
        </p15:guide>
        <p15:guide id="22" orient="horz" pos="2500" userDrawn="1">
          <p15:clr>
            <a:srgbClr val="A4A3A4"/>
          </p15:clr>
        </p15:guide>
        <p15:guide id="23" orient="horz" pos="2645" userDrawn="1">
          <p15:clr>
            <a:srgbClr val="A4A3A4"/>
          </p15:clr>
        </p15:guide>
        <p15:guide id="24" orient="horz" pos="2785" userDrawn="1">
          <p15:clr>
            <a:srgbClr val="A4A3A4"/>
          </p15:clr>
        </p15:guide>
        <p15:guide id="25" orient="horz" pos="2930" userDrawn="1">
          <p15:clr>
            <a:srgbClr val="A4A3A4"/>
          </p15:clr>
        </p15:guide>
        <p15:guide id="26" orient="horz" pos="3076" userDrawn="1">
          <p15:clr>
            <a:srgbClr val="A4A3A4"/>
          </p15:clr>
        </p15:guide>
        <p15:guide id="27" orient="horz" pos="3216" userDrawn="1">
          <p15:clr>
            <a:srgbClr val="A4A3A4"/>
          </p15:clr>
        </p15:guide>
        <p15:guide id="28" orient="horz" pos="3361" userDrawn="1">
          <p15:clr>
            <a:srgbClr val="A4A3A4"/>
          </p15:clr>
        </p15:guide>
        <p15:guide id="29" orient="horz" pos="3506" userDrawn="1">
          <p15:clr>
            <a:srgbClr val="A4A3A4"/>
          </p15:clr>
        </p15:guide>
        <p15:guide id="30" orient="horz" pos="3652" userDrawn="1">
          <p15:clr>
            <a:srgbClr val="A4A3A4"/>
          </p15:clr>
        </p15:guide>
        <p15:guide id="31" orient="horz" pos="3797" userDrawn="1">
          <p15:clr>
            <a:srgbClr val="A4A3A4"/>
          </p15:clr>
        </p15:guide>
        <p15:guide id="32" pos="2048" userDrawn="1">
          <p15:clr>
            <a:srgbClr val="9FCC3B"/>
          </p15:clr>
        </p15:guide>
        <p15:guide id="33" pos="2175" userDrawn="1">
          <p15:clr>
            <a:srgbClr val="9FCC3B"/>
          </p15:clr>
        </p15:guide>
        <p15:guide id="34" pos="3780" userDrawn="1">
          <p15:clr>
            <a:srgbClr val="9FCC3B"/>
          </p15:clr>
        </p15:guide>
        <p15:guide id="35" pos="3892" userDrawn="1">
          <p15:clr>
            <a:srgbClr val="9FCC3B"/>
          </p15:clr>
        </p15:guide>
        <p15:guide id="36" pos="5501" userDrawn="1">
          <p15:clr>
            <a:srgbClr val="9FCC3B"/>
          </p15:clr>
        </p15:guide>
        <p15:guide id="37" pos="5617" userDrawn="1">
          <p15:clr>
            <a:srgbClr val="9FCC3B"/>
          </p15:clr>
        </p15:guide>
        <p15:guide id="38" pos="2634" userDrawn="1">
          <p15:clr>
            <a:srgbClr val="C35EA4"/>
          </p15:clr>
        </p15:guide>
        <p15:guide id="39" pos="2746" userDrawn="1">
          <p15:clr>
            <a:srgbClr val="C35EA4"/>
          </p15:clr>
        </p15:guide>
        <p15:guide id="40" pos="4929" userDrawn="1">
          <p15:clr>
            <a:srgbClr val="C35EA4"/>
          </p15:clr>
        </p15:guide>
        <p15:guide id="41" pos="5041" userDrawn="1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rbondesignsystem.com/developing/frameworks/svelte/" TargetMode="Externa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progress-hackatoners.github.io/kendo-svelte/" TargetMode="External"/><Relationship Id="rId2" Type="http://schemas.openxmlformats.org/officeDocument/2006/relationships/hyperlink" Target="https://github.com/progress-hackatoners/kendo-svelte/" TargetMode="Externa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s://svelte.dev/" TargetMode="Externa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hyperlink" Target="https://insights.stackoverflow.com/survey/2021#section-most-loved-dreaded-and-wanted-web-frameworks" TargetMode="Externa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3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hyperlink" Target="https://2020.stateofjs.com/en-US/technologies/front-end-frameworks/" TargetMode="Externa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3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hyperlink" Target="https://2020.stateofjs.com/en-US/technologies/front-end-frameworks/" TargetMode="Externa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3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7.png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6" Type="http://schemas.openxmlformats.org/officeDocument/2006/relationships/hyperlink" Target="https://2020.stateofjs.com/en-US/technologies/front-end-frameworks/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18560D7-F7B4-D446-A0FC-F59F9F49CDE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Progress </a:t>
            </a:r>
            <a:r>
              <a:rPr lang="en-US" dirty="0" err="1"/>
              <a:t>Hackatoners</a:t>
            </a:r>
            <a:r>
              <a:rPr lang="en-US" dirty="0"/>
              <a:t> </a:t>
            </a:r>
            <a:endParaRPr lang="en-BG" dirty="0"/>
          </a:p>
        </p:txBody>
      </p:sp>
      <p:pic>
        <p:nvPicPr>
          <p:cNvPr id="12" name="Picture 11" descr="Icon&#10;&#10;Description automatically generated">
            <a:extLst>
              <a:ext uri="{FF2B5EF4-FFF2-40B4-BE49-F238E27FC236}">
                <a16:creationId xmlns:a16="http://schemas.microsoft.com/office/drawing/2014/main" id="{5A0CB36D-F79B-4856-9F08-8914A82934F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2604" y="1291415"/>
            <a:ext cx="778885" cy="943869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CC187C9-C8BC-E24A-AFA6-F7F26EC51EA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BG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34F1F01-2A1A-E746-A75C-EB58C17BE26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11.03.2022</a:t>
            </a:r>
            <a:endParaRPr lang="en-BG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07C7BE-8A34-404B-92DC-3DAAC4BFC6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391" y="1715373"/>
            <a:ext cx="3245084" cy="519911"/>
          </a:xfrm>
        </p:spPr>
        <p:txBody>
          <a:bodyPr/>
          <a:lstStyle/>
          <a:p>
            <a:r>
              <a:rPr lang="en-US" dirty="0"/>
              <a:t>Kendo UI for</a:t>
            </a:r>
            <a:endParaRPr lang="en-BG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E183762-82B8-4E86-832C-272C7A6D852E}"/>
              </a:ext>
            </a:extLst>
          </p:cNvPr>
          <p:cNvSpPr txBox="1">
            <a:spLocks/>
          </p:cNvSpPr>
          <p:nvPr/>
        </p:nvSpPr>
        <p:spPr>
          <a:xfrm>
            <a:off x="4601489" y="1716051"/>
            <a:ext cx="1257010" cy="534545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75000"/>
              </a:lnSpc>
              <a:spcBef>
                <a:spcPct val="0"/>
              </a:spcBef>
              <a:buNone/>
              <a:defRPr sz="4400" b="1" i="0" kern="1200" spc="-10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 err="1"/>
              <a:t>velte</a:t>
            </a:r>
            <a:r>
              <a:rPr lang="en-US" dirty="0"/>
              <a:t> </a:t>
            </a:r>
            <a:endParaRPr lang="en-BG" dirty="0"/>
          </a:p>
        </p:txBody>
      </p:sp>
    </p:spTree>
    <p:extLst>
      <p:ext uri="{BB962C8B-B14F-4D97-AF65-F5344CB8AC3E}">
        <p14:creationId xmlns:p14="http://schemas.microsoft.com/office/powerpoint/2010/main" val="38971734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C8472D-4F99-504C-92B1-B5ABB0ECDD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731" y="481263"/>
            <a:ext cx="6146000" cy="1194303"/>
          </a:xfrm>
        </p:spPr>
        <p:txBody>
          <a:bodyPr/>
          <a:lstStyle/>
          <a:p>
            <a:r>
              <a:rPr lang="en-US" dirty="0"/>
              <a:t>Svelte can be </a:t>
            </a:r>
            <a:br>
              <a:rPr lang="en-US" dirty="0"/>
            </a:br>
            <a:r>
              <a:rPr lang="en-US" dirty="0"/>
              <a:t>our Next UI Library</a:t>
            </a:r>
            <a:endParaRPr lang="en-BG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09D6D6A-C9D0-8648-9C81-C4986FE942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2313" y="1834358"/>
            <a:ext cx="5278437" cy="4162721"/>
          </a:xfrm>
        </p:spPr>
        <p:txBody>
          <a:bodyPr/>
          <a:lstStyle/>
          <a:p>
            <a:pPr marL="342900" indent="-342900">
              <a:lnSpc>
                <a:spcPct val="100000"/>
              </a:lnSpc>
              <a:spcAft>
                <a:spcPts val="1500"/>
              </a:spcAft>
              <a:buClr>
                <a:schemeClr val="accent3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dirty="0"/>
              <a:t>Svelte covers all major needs to build a modern web application. </a:t>
            </a:r>
          </a:p>
          <a:p>
            <a:pPr marL="342900" indent="-342900">
              <a:lnSpc>
                <a:spcPct val="100000"/>
              </a:lnSpc>
              <a:spcAft>
                <a:spcPts val="1500"/>
              </a:spcAft>
              <a:buClr>
                <a:schemeClr val="accent3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dirty="0"/>
              <a:t>It covers all the functionality and features that we need to build a UI library. And enrich our portfolio of support JS Frameworks.</a:t>
            </a:r>
          </a:p>
          <a:p>
            <a:pPr marL="342900" indent="-342900">
              <a:lnSpc>
                <a:spcPct val="100000"/>
              </a:lnSpc>
              <a:spcAft>
                <a:spcPts val="1500"/>
              </a:spcAft>
              <a:buClr>
                <a:schemeClr val="accent3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dirty="0"/>
              <a:t>Svelte is gaining popularity and usage. And we can be one of the first providing Svelte support.</a:t>
            </a:r>
          </a:p>
          <a:p>
            <a:pPr>
              <a:lnSpc>
                <a:spcPct val="100000"/>
              </a:lnSpc>
              <a:spcAft>
                <a:spcPts val="1500"/>
              </a:spcAft>
              <a:buClr>
                <a:schemeClr val="accent3"/>
              </a:buClr>
              <a:buSzPct val="120000"/>
            </a:pPr>
            <a:endParaRPr lang="en-US" dirty="0"/>
          </a:p>
          <a:p>
            <a:pPr>
              <a:lnSpc>
                <a:spcPct val="100000"/>
              </a:lnSpc>
              <a:spcAft>
                <a:spcPts val="1500"/>
              </a:spcAft>
              <a:buClr>
                <a:schemeClr val="accent3"/>
              </a:buClr>
              <a:buSzPct val="120000"/>
            </a:pPr>
            <a:endParaRPr lang="en-BG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0D684A1-C02D-4CD6-9535-3C231D4A8F2A}"/>
              </a:ext>
            </a:extLst>
          </p:cNvPr>
          <p:cNvSpPr txBox="1"/>
          <p:nvPr/>
        </p:nvSpPr>
        <p:spPr>
          <a:xfrm>
            <a:off x="2829392" y="5602386"/>
            <a:ext cx="3631964" cy="39469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/>
            <a:r>
              <a:rPr lang="en-US" sz="1100" dirty="0"/>
              <a:t>* </a:t>
            </a:r>
            <a:r>
              <a:rPr lang="en-US" sz="1100" b="1" dirty="0"/>
              <a:t>Carbon Design System </a:t>
            </a:r>
            <a:r>
              <a:rPr lang="en-US" sz="1100" dirty="0"/>
              <a:t>has announced </a:t>
            </a:r>
            <a:r>
              <a:rPr lang="en-US" sz="1100" dirty="0">
                <a:hlinkClick r:id="rId2"/>
              </a:rPr>
              <a:t>Svelte support</a:t>
            </a:r>
            <a:r>
              <a:rPr lang="en-US" sz="1100" dirty="0"/>
              <a:t>, no official version up to now.</a:t>
            </a:r>
            <a:endParaRPr lang="bg-BG" sz="1100" dirty="0"/>
          </a:p>
        </p:txBody>
      </p:sp>
    </p:spTree>
    <p:extLst>
      <p:ext uri="{BB962C8B-B14F-4D97-AF65-F5344CB8AC3E}">
        <p14:creationId xmlns:p14="http://schemas.microsoft.com/office/powerpoint/2010/main" val="31124166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8F1DB1D-35F3-F146-82F5-68B73C85E2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91251" y="1840103"/>
            <a:ext cx="5278437" cy="2484390"/>
          </a:xfrm>
        </p:spPr>
        <p:txBody>
          <a:bodyPr/>
          <a:lstStyle/>
          <a:p>
            <a:pPr marL="227013" indent="-227013">
              <a:lnSpc>
                <a:spcPct val="100000"/>
              </a:lnSpc>
              <a:spcAft>
                <a:spcPts val="1500"/>
              </a:spcAft>
              <a:buClr>
                <a:schemeClr val="accent3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b="1" dirty="0" err="1"/>
              <a:t>Github</a:t>
            </a:r>
            <a:r>
              <a:rPr lang="en-US" b="1" dirty="0"/>
              <a:t> repo:</a:t>
            </a:r>
            <a:br>
              <a:rPr lang="en-BG" dirty="0"/>
            </a:br>
            <a:r>
              <a:rPr lang="en-US" dirty="0">
                <a:hlinkClick r:id="rId2"/>
              </a:rPr>
              <a:t>https://github.com/progress-hackatoners/kendo-svelte/</a:t>
            </a:r>
            <a:endParaRPr lang="en-US" dirty="0"/>
          </a:p>
          <a:p>
            <a:pPr marL="227013" indent="-227013">
              <a:lnSpc>
                <a:spcPct val="100000"/>
              </a:lnSpc>
              <a:spcAft>
                <a:spcPts val="1500"/>
              </a:spcAft>
              <a:buClr>
                <a:schemeClr val="accent3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b="1" dirty="0"/>
              <a:t>Sample App</a:t>
            </a:r>
            <a:br>
              <a:rPr lang="en-BG" b="1" dirty="0"/>
            </a:br>
            <a:r>
              <a:rPr lang="en-US" dirty="0">
                <a:hlinkClick r:id="rId3"/>
              </a:rPr>
              <a:t>https://progress-hackatoners.github.io/kendo-svelte/</a:t>
            </a:r>
            <a:endParaRPr lang="en-BG" b="1" dirty="0"/>
          </a:p>
          <a:p>
            <a:endParaRPr lang="en-BG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D044AD8-063B-AE40-A481-DA8F5E32ED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eck what we’ve built</a:t>
            </a:r>
            <a:endParaRPr lang="en-BG" dirty="0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CAA05710-F220-46A3-81D2-05F37934C389}"/>
              </a:ext>
            </a:extLst>
          </p:cNvPr>
          <p:cNvSpPr txBox="1">
            <a:spLocks/>
          </p:cNvSpPr>
          <p:nvPr/>
        </p:nvSpPr>
        <p:spPr>
          <a:xfrm>
            <a:off x="6191250" y="5053262"/>
            <a:ext cx="5278437" cy="1636295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3"/>
              </a:buClr>
              <a:buSzPct val="125000"/>
              <a:buFont typeface="Arial" panose="020B0604020202020204" pitchFamily="34" charset="0"/>
              <a:buNone/>
              <a:tabLst/>
              <a:defRPr sz="2400" b="0" i="0" kern="1200" spc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SzPct val="110000"/>
              <a:buFont typeface="Arial" panose="020B0604020202020204" pitchFamily="34" charset="0"/>
              <a:buNone/>
              <a:tabLst/>
              <a:defRPr sz="2400" b="0" i="0" kern="1200" spc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19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Font typeface="Arial" panose="020B0503030202060203" pitchFamily="34" charset="0"/>
              <a:buChar char="–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2925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85000"/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14375" indent="-17145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503030202060203" pitchFamily="34" charset="0"/>
              <a:buChar char="–"/>
              <a:defRPr sz="2400" b="0" i="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400" b="1" dirty="0"/>
              <a:t>Progress </a:t>
            </a:r>
            <a:r>
              <a:rPr lang="en-US" sz="1400" b="1" dirty="0" err="1"/>
              <a:t>Hackatoners</a:t>
            </a:r>
            <a:br>
              <a:rPr lang="en-US" sz="1400" dirty="0"/>
            </a:br>
            <a:r>
              <a:rPr lang="en-US" sz="1400" dirty="0"/>
              <a:t>Veselin Tsvetanov</a:t>
            </a:r>
          </a:p>
          <a:p>
            <a:pPr algn="r"/>
            <a:r>
              <a:rPr lang="en-US" sz="1400" dirty="0"/>
              <a:t>Dimitar Kalaydzhiev</a:t>
            </a:r>
          </a:p>
          <a:p>
            <a:pPr algn="r"/>
            <a:r>
              <a:rPr lang="en-US" sz="1400" dirty="0"/>
              <a:t>Yoana Ivanova</a:t>
            </a:r>
          </a:p>
          <a:p>
            <a:pPr algn="r"/>
            <a:r>
              <a:rPr lang="en-US" sz="1400" dirty="0"/>
              <a:t>Yanko Dzhemerenov</a:t>
            </a:r>
            <a:endParaRPr lang="en-BG" sz="1400" dirty="0"/>
          </a:p>
        </p:txBody>
      </p:sp>
    </p:spTree>
    <p:extLst>
      <p:ext uri="{BB962C8B-B14F-4D97-AF65-F5344CB8AC3E}">
        <p14:creationId xmlns:p14="http://schemas.microsoft.com/office/powerpoint/2010/main" val="2275517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text, indoor, game&#10;&#10;Description automatically generated">
            <a:extLst>
              <a:ext uri="{FF2B5EF4-FFF2-40B4-BE49-F238E27FC236}">
                <a16:creationId xmlns:a16="http://schemas.microsoft.com/office/drawing/2014/main" id="{ECF8E8CD-6431-4A51-BD6A-41BC0A9924D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72899"/>
            <a:ext cx="12192000" cy="5715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57454515-31C0-8E49-97DE-D588AF057E8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56781" y="404066"/>
            <a:ext cx="5278438" cy="1606550"/>
          </a:xfrm>
        </p:spPr>
        <p:txBody>
          <a:bodyPr/>
          <a:lstStyle/>
          <a:p>
            <a:r>
              <a:rPr lang="en-US" dirty="0"/>
              <a:t>What is Svelte?</a:t>
            </a:r>
            <a:endParaRPr lang="en-BG" dirty="0"/>
          </a:p>
        </p:txBody>
      </p:sp>
    </p:spTree>
    <p:extLst>
      <p:ext uri="{BB962C8B-B14F-4D97-AF65-F5344CB8AC3E}">
        <p14:creationId xmlns:p14="http://schemas.microsoft.com/office/powerpoint/2010/main" val="1176416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C016821E-89B2-401F-91C8-1A729AC209CF}"/>
              </a:ext>
            </a:extLst>
          </p:cNvPr>
          <p:cNvSpPr txBox="1"/>
          <p:nvPr/>
        </p:nvSpPr>
        <p:spPr>
          <a:xfrm>
            <a:off x="4723391" y="3892643"/>
            <a:ext cx="6994251" cy="2109611"/>
          </a:xfrm>
          <a:prstGeom prst="roundRect">
            <a:avLst/>
          </a:prstGeom>
          <a:solidFill>
            <a:srgbClr val="EEF5FF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rtlCol="0">
            <a:noAutofit/>
          </a:bodyPr>
          <a:lstStyle/>
          <a:p>
            <a:pPr>
              <a:lnSpc>
                <a:spcPts val="2700"/>
              </a:lnSpc>
            </a:pPr>
            <a:r>
              <a:rPr lang="en-US" b="0" i="1" dirty="0">
                <a:solidFill>
                  <a:srgbClr val="444444"/>
                </a:solidFill>
                <a:effectLst/>
                <a:latin typeface="Overpass"/>
              </a:rPr>
              <a:t>Svelte is a radical new approach to building user interfaces. Whereas traditional frameworks like React and Vue do the bulk of their work in the browser, Svelte shifts that work into a compile step that happens when you build your app.</a:t>
            </a:r>
            <a:endParaRPr lang="en-US" i="1" dirty="0">
              <a:solidFill>
                <a:srgbClr val="444444"/>
              </a:solidFill>
              <a:latin typeface="Overpass"/>
            </a:endParaRPr>
          </a:p>
          <a:p>
            <a:pPr algn="r">
              <a:lnSpc>
                <a:spcPts val="2700"/>
              </a:lnSpc>
            </a:pPr>
            <a:r>
              <a:rPr lang="en-US" i="1" dirty="0">
                <a:solidFill>
                  <a:srgbClr val="444444"/>
                </a:solidFill>
                <a:latin typeface="Overpass"/>
              </a:rPr>
              <a:t>- </a:t>
            </a:r>
            <a:r>
              <a:rPr lang="en-US" i="1" dirty="0" err="1">
                <a:solidFill>
                  <a:srgbClr val="444444"/>
                </a:solidFill>
                <a:latin typeface="Overpass"/>
                <a:hlinkClick r:id="rId2"/>
              </a:rPr>
              <a:t>svelte.dev</a:t>
            </a:r>
            <a:endParaRPr lang="bg-BG" i="1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354DA3F-836D-41F3-89F6-0BC8AC9552B5}"/>
              </a:ext>
            </a:extLst>
          </p:cNvPr>
          <p:cNvSpPr txBox="1"/>
          <p:nvPr/>
        </p:nvSpPr>
        <p:spPr>
          <a:xfrm>
            <a:off x="588264" y="2361695"/>
            <a:ext cx="11129378" cy="3845325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bg-BG" sz="24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9BB303B-4976-4C45-8CC8-029A958D0605}"/>
              </a:ext>
            </a:extLst>
          </p:cNvPr>
          <p:cNvSpPr txBox="1"/>
          <p:nvPr/>
        </p:nvSpPr>
        <p:spPr>
          <a:xfrm>
            <a:off x="400539" y="557118"/>
            <a:ext cx="11013179" cy="342143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r>
              <a:rPr lang="en-US" sz="2400" b="0" i="0" dirty="0">
                <a:solidFill>
                  <a:srgbClr val="444444"/>
                </a:solidFill>
                <a:effectLst/>
                <a:latin typeface="Overpass"/>
              </a:rPr>
              <a:t>Svelte is a new JS Framework enabling clients to build web apps in a similar fashion to React, Angular and Vue. It includes all the features that are required for a modern JS Framework</a:t>
            </a:r>
            <a:r>
              <a:rPr lang="en-US" sz="2400" dirty="0">
                <a:solidFill>
                  <a:srgbClr val="444444"/>
                </a:solidFill>
                <a:latin typeface="Overpass"/>
              </a:rPr>
              <a:t>: </a:t>
            </a:r>
          </a:p>
          <a:p>
            <a:pPr algn="l">
              <a:lnSpc>
                <a:spcPts val="2700"/>
              </a:lnSpc>
            </a:pPr>
            <a:endParaRPr lang="en-US" sz="2400" b="0" i="0" dirty="0">
              <a:solidFill>
                <a:srgbClr val="444444"/>
              </a:solidFill>
              <a:effectLst/>
              <a:latin typeface="Overpass"/>
            </a:endParaRPr>
          </a:p>
          <a:p>
            <a:pPr marL="342900" indent="-342900" algn="l">
              <a:lnSpc>
                <a:spcPts val="2700"/>
              </a:lnSpc>
              <a:buFont typeface="Arial" panose="020B0604020202020204" pitchFamily="34" charset="0"/>
              <a:buChar char="•"/>
            </a:pPr>
            <a:r>
              <a:rPr lang="en-US" sz="2400" b="0" i="0" dirty="0">
                <a:solidFill>
                  <a:srgbClr val="444444"/>
                </a:solidFill>
                <a:effectLst/>
                <a:latin typeface="Overpass"/>
              </a:rPr>
              <a:t>Reactivity</a:t>
            </a:r>
          </a:p>
          <a:p>
            <a:pPr marL="342900" indent="-342900" algn="l">
              <a:lnSpc>
                <a:spcPts val="27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444444"/>
                </a:solidFill>
                <a:latin typeface="Overpass"/>
              </a:rPr>
              <a:t>Component-driven approach </a:t>
            </a:r>
          </a:p>
          <a:p>
            <a:pPr marL="342900" indent="-342900" algn="l">
              <a:lnSpc>
                <a:spcPts val="2700"/>
              </a:lnSpc>
              <a:buFont typeface="Arial" panose="020B0604020202020204" pitchFamily="34" charset="0"/>
              <a:buChar char="•"/>
            </a:pPr>
            <a:r>
              <a:rPr lang="en-US" sz="2400" b="0" i="0" dirty="0">
                <a:solidFill>
                  <a:srgbClr val="444444"/>
                </a:solidFill>
                <a:effectLst/>
                <a:latin typeface="Overpass"/>
              </a:rPr>
              <a:t>Use of modern compilers </a:t>
            </a:r>
          </a:p>
          <a:p>
            <a:pPr marL="342900" indent="-342900" algn="l">
              <a:lnSpc>
                <a:spcPts val="27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444444"/>
                </a:solidFill>
                <a:latin typeface="Overpass"/>
              </a:rPr>
              <a:t>Using TypeScript or ES</a:t>
            </a:r>
            <a:endParaRPr lang="en-US" sz="2400" b="0" i="0" dirty="0">
              <a:solidFill>
                <a:srgbClr val="444444"/>
              </a:solidFill>
              <a:effectLst/>
              <a:latin typeface="Overpass"/>
            </a:endParaRPr>
          </a:p>
        </p:txBody>
      </p:sp>
    </p:spTree>
    <p:extLst>
      <p:ext uri="{BB962C8B-B14F-4D97-AF65-F5344CB8AC3E}">
        <p14:creationId xmlns:p14="http://schemas.microsoft.com/office/powerpoint/2010/main" val="24773671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0FB4F5E-2617-4375-99EE-8930BC4E5D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78"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0FB4F5E-2617-4375-99EE-8930BC4E5D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FB4CF98-2037-A449-B1FF-CC27626504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Svelte stands out</a:t>
            </a:r>
            <a:endParaRPr lang="en-BG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C302ACB-5FA1-F746-8944-07A7EFB0B1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Syntax that makes it easier and faster to create components and build apps.</a:t>
            </a:r>
            <a:endParaRPr lang="en-BG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5ACE84-D2F2-3A41-A3FA-972AFBB72C6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Less Code</a:t>
            </a:r>
            <a:endParaRPr lang="en-BG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287693C-AD57-E344-A4F8-CE9C4F16351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 dirty="0"/>
              <a:t>No Virtual DOM</a:t>
            </a:r>
            <a:endParaRPr lang="en-BG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159B2F3-4D40-5F48-9002-6E60A7DF6CD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en-US" dirty="0"/>
              <a:t>Truly Reactive</a:t>
            </a:r>
            <a:endParaRPr lang="en-BG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89A832A-3474-4D4F-AB75-0741B4A02E5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Unlike other JS Frameworks – no virtual DOM makes it run faster and much lighter.</a:t>
            </a:r>
            <a:endParaRPr lang="en-BG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352169-7CB8-A943-904E-E15E109D4E4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Updates only the required DOM –makes apps fast and responsive.</a:t>
            </a:r>
            <a:endParaRPr lang="en-BG" dirty="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CFEDDCF4-5D0A-3B4C-AA39-89BD12E7ACEE}"/>
              </a:ext>
            </a:extLst>
          </p:cNvPr>
          <p:cNvGrpSpPr>
            <a:grpSpLocks noChangeAspect="1"/>
          </p:cNvGrpSpPr>
          <p:nvPr/>
        </p:nvGrpSpPr>
        <p:grpSpPr>
          <a:xfrm>
            <a:off x="6146317" y="2158594"/>
            <a:ext cx="899975" cy="900000"/>
            <a:chOff x="5755185" y="-1513911"/>
            <a:chExt cx="923749" cy="923764"/>
          </a:xfrm>
        </p:grpSpPr>
        <p:sp>
          <p:nvSpPr>
            <p:cNvPr id="51" name="Freeform: Shape 28">
              <a:extLst>
                <a:ext uri="{FF2B5EF4-FFF2-40B4-BE49-F238E27FC236}">
                  <a16:creationId xmlns:a16="http://schemas.microsoft.com/office/drawing/2014/main" id="{630E777C-CF1F-AE4D-8060-B0446DFA1E65}"/>
                </a:ext>
              </a:extLst>
            </p:cNvPr>
            <p:cNvSpPr/>
            <p:nvPr/>
          </p:nvSpPr>
          <p:spPr>
            <a:xfrm>
              <a:off x="5755185" y="-1513911"/>
              <a:ext cx="923749" cy="923764"/>
            </a:xfrm>
            <a:custGeom>
              <a:avLst/>
              <a:gdLst>
                <a:gd name="connsiteX0" fmla="*/ 576756 w 923749"/>
                <a:gd name="connsiteY0" fmla="*/ 414143 h 923764"/>
                <a:gd name="connsiteX1" fmla="*/ 820310 w 923749"/>
                <a:gd name="connsiteY1" fmla="*/ 170589 h 923764"/>
                <a:gd name="connsiteX2" fmla="*/ 170590 w 923749"/>
                <a:gd name="connsiteY2" fmla="*/ 103457 h 923764"/>
                <a:gd name="connsiteX3" fmla="*/ 103458 w 923749"/>
                <a:gd name="connsiteY3" fmla="*/ 753177 h 923764"/>
                <a:gd name="connsiteX4" fmla="*/ 753178 w 923749"/>
                <a:gd name="connsiteY4" fmla="*/ 820309 h 923764"/>
                <a:gd name="connsiteX5" fmla="*/ 923751 w 923749"/>
                <a:gd name="connsiteY5" fmla="*/ 461768 h 923764"/>
                <a:gd name="connsiteX6" fmla="*/ 921275 w 923749"/>
                <a:gd name="connsiteY6" fmla="*/ 414143 h 923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23749" h="923764">
                  <a:moveTo>
                    <a:pt x="576756" y="414143"/>
                  </a:moveTo>
                  <a:lnTo>
                    <a:pt x="820310" y="170589"/>
                  </a:lnTo>
                  <a:cubicBezTo>
                    <a:pt x="659432" y="-27364"/>
                    <a:pt x="368543" y="-57420"/>
                    <a:pt x="170590" y="103457"/>
                  </a:cubicBezTo>
                  <a:cubicBezTo>
                    <a:pt x="-27363" y="264335"/>
                    <a:pt x="-57419" y="555224"/>
                    <a:pt x="103458" y="753177"/>
                  </a:cubicBezTo>
                  <a:cubicBezTo>
                    <a:pt x="264336" y="951130"/>
                    <a:pt x="555225" y="981186"/>
                    <a:pt x="753178" y="820309"/>
                  </a:cubicBezTo>
                  <a:cubicBezTo>
                    <a:pt x="861126" y="732579"/>
                    <a:pt x="923786" y="600870"/>
                    <a:pt x="923751" y="461768"/>
                  </a:cubicBezTo>
                  <a:cubicBezTo>
                    <a:pt x="923738" y="445861"/>
                    <a:pt x="922911" y="429965"/>
                    <a:pt x="921275" y="414143"/>
                  </a:cubicBezTo>
                  <a:close/>
                </a:path>
              </a:pathLst>
            </a:custGeom>
            <a:solidFill>
              <a:srgbClr val="62DE7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29">
              <a:extLst>
                <a:ext uri="{FF2B5EF4-FFF2-40B4-BE49-F238E27FC236}">
                  <a16:creationId xmlns:a16="http://schemas.microsoft.com/office/drawing/2014/main" id="{18BF0095-18B2-304E-82E1-D85C731DE2B3}"/>
                </a:ext>
              </a:extLst>
            </p:cNvPr>
            <p:cNvSpPr/>
            <p:nvPr/>
          </p:nvSpPr>
          <p:spPr>
            <a:xfrm>
              <a:off x="5816636" y="-1452480"/>
              <a:ext cx="800671" cy="800671"/>
            </a:xfrm>
            <a:custGeom>
              <a:avLst/>
              <a:gdLst>
                <a:gd name="connsiteX0" fmla="*/ 800680 w 800671"/>
                <a:gd name="connsiteY0" fmla="*/ 400343 h 800671"/>
                <a:gd name="connsiteX1" fmla="*/ 400344 w 800671"/>
                <a:gd name="connsiteY1" fmla="*/ 800679 h 800671"/>
                <a:gd name="connsiteX2" fmla="*/ 8 w 800671"/>
                <a:gd name="connsiteY2" fmla="*/ 400343 h 800671"/>
                <a:gd name="connsiteX3" fmla="*/ 400344 w 800671"/>
                <a:gd name="connsiteY3" fmla="*/ 7 h 800671"/>
                <a:gd name="connsiteX4" fmla="*/ 800680 w 800671"/>
                <a:gd name="connsiteY4" fmla="*/ 400343 h 800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0671" h="800671">
                  <a:moveTo>
                    <a:pt x="800680" y="400343"/>
                  </a:moveTo>
                  <a:cubicBezTo>
                    <a:pt x="800680" y="621443"/>
                    <a:pt x="621444" y="800679"/>
                    <a:pt x="400344" y="800679"/>
                  </a:cubicBezTo>
                  <a:cubicBezTo>
                    <a:pt x="179245" y="800679"/>
                    <a:pt x="8" y="621443"/>
                    <a:pt x="8" y="400343"/>
                  </a:cubicBezTo>
                  <a:cubicBezTo>
                    <a:pt x="8" y="179244"/>
                    <a:pt x="179245" y="7"/>
                    <a:pt x="400344" y="7"/>
                  </a:cubicBezTo>
                  <a:cubicBezTo>
                    <a:pt x="621444" y="7"/>
                    <a:pt x="800680" y="179244"/>
                    <a:pt x="800680" y="400343"/>
                  </a:cubicBezTo>
                  <a:close/>
                </a:path>
              </a:pathLst>
            </a:custGeom>
            <a:noFill/>
            <a:ln w="1905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eform: Shape 30">
              <a:extLst>
                <a:ext uri="{FF2B5EF4-FFF2-40B4-BE49-F238E27FC236}">
                  <a16:creationId xmlns:a16="http://schemas.microsoft.com/office/drawing/2014/main" id="{94F80CA7-6224-9B49-9171-064D8B14C4AD}"/>
                </a:ext>
              </a:extLst>
            </p:cNvPr>
            <p:cNvSpPr/>
            <p:nvPr/>
          </p:nvSpPr>
          <p:spPr>
            <a:xfrm>
              <a:off x="6216972" y="-1354848"/>
              <a:ext cx="221551" cy="302704"/>
            </a:xfrm>
            <a:custGeom>
              <a:avLst/>
              <a:gdLst>
                <a:gd name="connsiteX0" fmla="*/ 221602 w 221551"/>
                <a:gd name="connsiteY0" fmla="*/ 81171 h 302704"/>
                <a:gd name="connsiteX1" fmla="*/ 81013 w 221551"/>
                <a:gd name="connsiteY1" fmla="*/ 18 h 302704"/>
                <a:gd name="connsiteX2" fmla="*/ 51 w 221551"/>
                <a:gd name="connsiteY2" fmla="*/ 302722 h 302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1551" h="302704">
                  <a:moveTo>
                    <a:pt x="221602" y="81171"/>
                  </a:moveTo>
                  <a:cubicBezTo>
                    <a:pt x="182691" y="42226"/>
                    <a:pt x="134197" y="14234"/>
                    <a:pt x="81013" y="18"/>
                  </a:cubicBezTo>
                  <a:lnTo>
                    <a:pt x="51" y="302722"/>
                  </a:lnTo>
                </a:path>
              </a:pathLst>
            </a:custGeom>
            <a:noFill/>
            <a:ln w="19050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Freeform: Shape 31">
              <a:extLst>
                <a:ext uri="{FF2B5EF4-FFF2-40B4-BE49-F238E27FC236}">
                  <a16:creationId xmlns:a16="http://schemas.microsoft.com/office/drawing/2014/main" id="{B1FE7220-6347-EF4A-942E-440467E06481}"/>
                </a:ext>
              </a:extLst>
            </p:cNvPr>
            <p:cNvSpPr/>
            <p:nvPr/>
          </p:nvSpPr>
          <p:spPr>
            <a:xfrm>
              <a:off x="5903633" y="-1273696"/>
              <a:ext cx="313367" cy="443103"/>
            </a:xfrm>
            <a:custGeom>
              <a:avLst/>
              <a:gdLst>
                <a:gd name="connsiteX0" fmla="*/ 91805 w 313367"/>
                <a:gd name="connsiteY0" fmla="*/ 26 h 443103"/>
                <a:gd name="connsiteX1" fmla="*/ 91743 w 313367"/>
                <a:gd name="connsiteY1" fmla="*/ 443067 h 443103"/>
                <a:gd name="connsiteX2" fmla="*/ 91805 w 313367"/>
                <a:gd name="connsiteY2" fmla="*/ 443129 h 443103"/>
                <a:gd name="connsiteX3" fmla="*/ 313386 w 313367"/>
                <a:gd name="connsiteY3" fmla="*/ 221578 h 443103"/>
                <a:gd name="connsiteX4" fmla="*/ 313386 w 313367"/>
                <a:gd name="connsiteY4" fmla="*/ 221578 h 443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3367" h="443103">
                  <a:moveTo>
                    <a:pt x="91805" y="26"/>
                  </a:moveTo>
                  <a:cubicBezTo>
                    <a:pt x="-30554" y="122351"/>
                    <a:pt x="-30582" y="320708"/>
                    <a:pt x="91743" y="443067"/>
                  </a:cubicBezTo>
                  <a:cubicBezTo>
                    <a:pt x="91764" y="443088"/>
                    <a:pt x="91785" y="443109"/>
                    <a:pt x="91805" y="443129"/>
                  </a:cubicBezTo>
                  <a:lnTo>
                    <a:pt x="313386" y="221578"/>
                  </a:lnTo>
                  <a:lnTo>
                    <a:pt x="313386" y="221578"/>
                  </a:lnTo>
                  <a:close/>
                </a:path>
              </a:pathLst>
            </a:custGeom>
            <a:noFill/>
            <a:ln w="19050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eform: Shape 32">
              <a:extLst>
                <a:ext uri="{FF2B5EF4-FFF2-40B4-BE49-F238E27FC236}">
                  <a16:creationId xmlns:a16="http://schemas.microsoft.com/office/drawing/2014/main" id="{496BE340-A53D-6744-85DD-8F925AD20B56}"/>
                </a:ext>
              </a:extLst>
            </p:cNvPr>
            <p:cNvSpPr/>
            <p:nvPr/>
          </p:nvSpPr>
          <p:spPr>
            <a:xfrm>
              <a:off x="5995421" y="-1052144"/>
              <a:ext cx="534828" cy="313339"/>
            </a:xfrm>
            <a:custGeom>
              <a:avLst/>
              <a:gdLst>
                <a:gd name="connsiteX0" fmla="*/ 27 w 534828"/>
                <a:gd name="connsiteY0" fmla="*/ 221601 h 313339"/>
                <a:gd name="connsiteX1" fmla="*/ 443068 w 534828"/>
                <a:gd name="connsiteY1" fmla="*/ 221663 h 313339"/>
                <a:gd name="connsiteX2" fmla="*/ 534856 w 534828"/>
                <a:gd name="connsiteY2" fmla="*/ 50 h 313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34828" h="313339">
                  <a:moveTo>
                    <a:pt x="27" y="221601"/>
                  </a:moveTo>
                  <a:cubicBezTo>
                    <a:pt x="122352" y="343961"/>
                    <a:pt x="320709" y="343988"/>
                    <a:pt x="443068" y="221663"/>
                  </a:cubicBezTo>
                  <a:cubicBezTo>
                    <a:pt x="501853" y="162894"/>
                    <a:pt x="534872" y="83173"/>
                    <a:pt x="534856" y="50"/>
                  </a:cubicBezTo>
                </a:path>
              </a:pathLst>
            </a:custGeom>
            <a:noFill/>
            <a:ln w="19050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eform: Shape 33">
              <a:extLst>
                <a:ext uri="{FF2B5EF4-FFF2-40B4-BE49-F238E27FC236}">
                  <a16:creationId xmlns:a16="http://schemas.microsoft.com/office/drawing/2014/main" id="{837F2877-25CA-204B-80B0-6AD461676D84}"/>
                </a:ext>
              </a:extLst>
            </p:cNvPr>
            <p:cNvSpPr/>
            <p:nvPr/>
          </p:nvSpPr>
          <p:spPr>
            <a:xfrm>
              <a:off x="5995325" y="-1365473"/>
              <a:ext cx="302609" cy="91777"/>
            </a:xfrm>
            <a:custGeom>
              <a:avLst/>
              <a:gdLst>
                <a:gd name="connsiteX0" fmla="*/ 302636 w 302609"/>
                <a:gd name="connsiteY0" fmla="*/ 10641 h 91777"/>
                <a:gd name="connsiteX1" fmla="*/ 27 w 302609"/>
                <a:gd name="connsiteY1" fmla="*/ 91794 h 91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2609" h="91777">
                  <a:moveTo>
                    <a:pt x="302636" y="10641"/>
                  </a:moveTo>
                  <a:cubicBezTo>
                    <a:pt x="194512" y="-18230"/>
                    <a:pt x="79196" y="12695"/>
                    <a:pt x="27" y="91794"/>
                  </a:cubicBezTo>
                </a:path>
              </a:pathLst>
            </a:custGeom>
            <a:noFill/>
            <a:ln w="19050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eform: Shape 34">
              <a:extLst>
                <a:ext uri="{FF2B5EF4-FFF2-40B4-BE49-F238E27FC236}">
                  <a16:creationId xmlns:a16="http://schemas.microsoft.com/office/drawing/2014/main" id="{B01F39A6-F855-8340-813F-9C634F772F83}"/>
                </a:ext>
              </a:extLst>
            </p:cNvPr>
            <p:cNvSpPr/>
            <p:nvPr/>
          </p:nvSpPr>
          <p:spPr>
            <a:xfrm>
              <a:off x="6216972" y="-1303223"/>
              <a:ext cx="355092" cy="251079"/>
            </a:xfrm>
            <a:custGeom>
              <a:avLst/>
              <a:gdLst>
                <a:gd name="connsiteX0" fmla="*/ 51 w 355092"/>
                <a:gd name="connsiteY0" fmla="*/ 251102 h 251079"/>
                <a:gd name="connsiteX1" fmla="*/ 355143 w 355092"/>
                <a:gd name="connsiteY1" fmla="*/ 251102 h 251079"/>
                <a:gd name="connsiteX2" fmla="*/ 251129 w 355092"/>
                <a:gd name="connsiteY2" fmla="*/ 23 h 251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55092" h="251079">
                  <a:moveTo>
                    <a:pt x="51" y="251102"/>
                  </a:moveTo>
                  <a:lnTo>
                    <a:pt x="355143" y="251102"/>
                  </a:lnTo>
                  <a:cubicBezTo>
                    <a:pt x="355264" y="156903"/>
                    <a:pt x="317830" y="66541"/>
                    <a:pt x="251129" y="23"/>
                  </a:cubicBezTo>
                  <a:close/>
                </a:path>
              </a:pathLst>
            </a:custGeom>
            <a:noFill/>
            <a:ln w="19050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8FB8A82C-B3ED-2D40-ABA8-D36A77FE11DD}"/>
              </a:ext>
            </a:extLst>
          </p:cNvPr>
          <p:cNvGrpSpPr>
            <a:grpSpLocks noChangeAspect="1"/>
          </p:cNvGrpSpPr>
          <p:nvPr/>
        </p:nvGrpSpPr>
        <p:grpSpPr>
          <a:xfrm>
            <a:off x="3485568" y="2158594"/>
            <a:ext cx="901925" cy="900000"/>
            <a:chOff x="4210050" y="-1847482"/>
            <a:chExt cx="897254" cy="895350"/>
          </a:xfrm>
        </p:grpSpPr>
        <p:sp>
          <p:nvSpPr>
            <p:cNvPr id="67" name="Freeform: Shape 36">
              <a:extLst>
                <a:ext uri="{FF2B5EF4-FFF2-40B4-BE49-F238E27FC236}">
                  <a16:creationId xmlns:a16="http://schemas.microsoft.com/office/drawing/2014/main" id="{6134222C-2A41-FC40-B81E-C4218906F302}"/>
                </a:ext>
              </a:extLst>
            </p:cNvPr>
            <p:cNvSpPr/>
            <p:nvPr/>
          </p:nvSpPr>
          <p:spPr>
            <a:xfrm>
              <a:off x="4210050" y="-1847482"/>
              <a:ext cx="897254" cy="895350"/>
            </a:xfrm>
            <a:custGeom>
              <a:avLst/>
              <a:gdLst>
                <a:gd name="connsiteX0" fmla="*/ 635321 w 897254"/>
                <a:gd name="connsiteY0" fmla="*/ 872493 h 895350"/>
                <a:gd name="connsiteX1" fmla="*/ 597221 w 897254"/>
                <a:gd name="connsiteY1" fmla="*/ 687708 h 895350"/>
                <a:gd name="connsiteX2" fmla="*/ 849633 w 897254"/>
                <a:gd name="connsiteY2" fmla="*/ 687708 h 895350"/>
                <a:gd name="connsiteX3" fmla="*/ 897258 w 897254"/>
                <a:gd name="connsiteY3" fmla="*/ 640083 h 895350"/>
                <a:gd name="connsiteX4" fmla="*/ 897258 w 897254"/>
                <a:gd name="connsiteY4" fmla="*/ 47628 h 895350"/>
                <a:gd name="connsiteX5" fmla="*/ 847728 w 897254"/>
                <a:gd name="connsiteY5" fmla="*/ 3 h 895350"/>
                <a:gd name="connsiteX6" fmla="*/ 47628 w 897254"/>
                <a:gd name="connsiteY6" fmla="*/ 3 h 895350"/>
                <a:gd name="connsiteX7" fmla="*/ 3 w 897254"/>
                <a:gd name="connsiteY7" fmla="*/ 47628 h 895350"/>
                <a:gd name="connsiteX8" fmla="*/ 3 w 897254"/>
                <a:gd name="connsiteY8" fmla="*/ 640083 h 895350"/>
                <a:gd name="connsiteX9" fmla="*/ 47628 w 897254"/>
                <a:gd name="connsiteY9" fmla="*/ 687708 h 895350"/>
                <a:gd name="connsiteX10" fmla="*/ 300041 w 897254"/>
                <a:gd name="connsiteY10" fmla="*/ 687708 h 895350"/>
                <a:gd name="connsiteX11" fmla="*/ 261941 w 897254"/>
                <a:gd name="connsiteY11" fmla="*/ 872493 h 895350"/>
                <a:gd name="connsiteX12" fmla="*/ 276796 w 897254"/>
                <a:gd name="connsiteY12" fmla="*/ 894968 h 895350"/>
                <a:gd name="connsiteX13" fmla="*/ 280562 w 897254"/>
                <a:gd name="connsiteY13" fmla="*/ 895353 h 895350"/>
                <a:gd name="connsiteX14" fmla="*/ 616699 w 897254"/>
                <a:gd name="connsiteY14" fmla="*/ 895353 h 895350"/>
                <a:gd name="connsiteX15" fmla="*/ 635705 w 897254"/>
                <a:gd name="connsiteY15" fmla="*/ 876259 h 895350"/>
                <a:gd name="connsiteX16" fmla="*/ 635321 w 897254"/>
                <a:gd name="connsiteY16" fmla="*/ 872493 h 895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97254" h="895350">
                  <a:moveTo>
                    <a:pt x="635321" y="872493"/>
                  </a:moveTo>
                  <a:lnTo>
                    <a:pt x="597221" y="687708"/>
                  </a:lnTo>
                  <a:lnTo>
                    <a:pt x="849633" y="687708"/>
                  </a:lnTo>
                  <a:cubicBezTo>
                    <a:pt x="875936" y="687708"/>
                    <a:pt x="897258" y="666386"/>
                    <a:pt x="897258" y="640083"/>
                  </a:cubicBezTo>
                  <a:lnTo>
                    <a:pt x="897258" y="47628"/>
                  </a:lnTo>
                  <a:cubicBezTo>
                    <a:pt x="895968" y="21140"/>
                    <a:pt x="874246" y="254"/>
                    <a:pt x="847728" y="3"/>
                  </a:cubicBezTo>
                  <a:lnTo>
                    <a:pt x="47628" y="3"/>
                  </a:lnTo>
                  <a:cubicBezTo>
                    <a:pt x="21325" y="3"/>
                    <a:pt x="3" y="21325"/>
                    <a:pt x="3" y="47628"/>
                  </a:cubicBezTo>
                  <a:lnTo>
                    <a:pt x="3" y="640083"/>
                  </a:lnTo>
                  <a:cubicBezTo>
                    <a:pt x="3" y="666386"/>
                    <a:pt x="21325" y="687708"/>
                    <a:pt x="47628" y="687708"/>
                  </a:cubicBezTo>
                  <a:lnTo>
                    <a:pt x="300041" y="687708"/>
                  </a:lnTo>
                  <a:lnTo>
                    <a:pt x="261941" y="872493"/>
                  </a:lnTo>
                  <a:cubicBezTo>
                    <a:pt x="259836" y="882801"/>
                    <a:pt x="266487" y="892864"/>
                    <a:pt x="276796" y="894968"/>
                  </a:cubicBezTo>
                  <a:cubicBezTo>
                    <a:pt x="278035" y="895221"/>
                    <a:pt x="279297" y="895350"/>
                    <a:pt x="280562" y="895353"/>
                  </a:cubicBezTo>
                  <a:lnTo>
                    <a:pt x="616699" y="895353"/>
                  </a:lnTo>
                  <a:cubicBezTo>
                    <a:pt x="627220" y="895329"/>
                    <a:pt x="635730" y="886780"/>
                    <a:pt x="635705" y="876259"/>
                  </a:cubicBezTo>
                  <a:cubicBezTo>
                    <a:pt x="635703" y="874994"/>
                    <a:pt x="635574" y="873733"/>
                    <a:pt x="635321" y="872493"/>
                  </a:cubicBezTo>
                </a:path>
              </a:pathLst>
            </a:custGeom>
            <a:solidFill>
              <a:srgbClr val="62DE7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Freeform: Shape 37">
              <a:extLst>
                <a:ext uri="{FF2B5EF4-FFF2-40B4-BE49-F238E27FC236}">
                  <a16:creationId xmlns:a16="http://schemas.microsoft.com/office/drawing/2014/main" id="{BC9604AC-F5C8-5647-B22A-80A5004A58D4}"/>
                </a:ext>
              </a:extLst>
            </p:cNvPr>
            <p:cNvSpPr/>
            <p:nvPr/>
          </p:nvSpPr>
          <p:spPr>
            <a:xfrm>
              <a:off x="4791075" y="-1704607"/>
              <a:ext cx="123825" cy="123825"/>
            </a:xfrm>
            <a:custGeom>
              <a:avLst/>
              <a:gdLst>
                <a:gd name="connsiteX0" fmla="*/ 64 w 123825"/>
                <a:gd name="connsiteY0" fmla="*/ 123843 h 123825"/>
                <a:gd name="connsiteX1" fmla="*/ 123889 w 123825"/>
                <a:gd name="connsiteY1" fmla="*/ 123843 h 123825"/>
                <a:gd name="connsiteX2" fmla="*/ 123889 w 123825"/>
                <a:gd name="connsiteY2" fmla="*/ 18 h 123825"/>
                <a:gd name="connsiteX3" fmla="*/ 64 w 123825"/>
                <a:gd name="connsiteY3" fmla="*/ 18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825" h="123825">
                  <a:moveTo>
                    <a:pt x="64" y="123843"/>
                  </a:moveTo>
                  <a:lnTo>
                    <a:pt x="123889" y="123843"/>
                  </a:lnTo>
                  <a:lnTo>
                    <a:pt x="123889" y="18"/>
                  </a:lnTo>
                  <a:lnTo>
                    <a:pt x="64" y="18"/>
                  </a:lnTo>
                  <a:close/>
                </a:path>
              </a:pathLst>
            </a:custGeom>
            <a:noFill/>
            <a:ln w="1905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Freeform: Shape 38">
              <a:extLst>
                <a:ext uri="{FF2B5EF4-FFF2-40B4-BE49-F238E27FC236}">
                  <a16:creationId xmlns:a16="http://schemas.microsoft.com/office/drawing/2014/main" id="{6D5A314C-86FC-E546-B307-F5447DEDF8E5}"/>
                </a:ext>
              </a:extLst>
            </p:cNvPr>
            <p:cNvSpPr/>
            <p:nvPr/>
          </p:nvSpPr>
          <p:spPr>
            <a:xfrm>
              <a:off x="4819650" y="-1704607"/>
              <a:ext cx="142875" cy="95250"/>
            </a:xfrm>
            <a:custGeom>
              <a:avLst/>
              <a:gdLst>
                <a:gd name="connsiteX0" fmla="*/ 142942 w 142875"/>
                <a:gd name="connsiteY0" fmla="*/ 18 h 95250"/>
                <a:gd name="connsiteX1" fmla="*/ 47692 w 142875"/>
                <a:gd name="connsiteY1" fmla="*/ 95268 h 95250"/>
                <a:gd name="connsiteX2" fmla="*/ 67 w 142875"/>
                <a:gd name="connsiteY2" fmla="*/ 48596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2875" h="95250">
                  <a:moveTo>
                    <a:pt x="142942" y="18"/>
                  </a:moveTo>
                  <a:lnTo>
                    <a:pt x="47692" y="95268"/>
                  </a:lnTo>
                  <a:lnTo>
                    <a:pt x="67" y="48596"/>
                  </a:lnTo>
                </a:path>
              </a:pathLst>
            </a:custGeom>
            <a:noFill/>
            <a:ln w="19050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Freeform: Shape 39">
              <a:extLst>
                <a:ext uri="{FF2B5EF4-FFF2-40B4-BE49-F238E27FC236}">
                  <a16:creationId xmlns:a16="http://schemas.microsoft.com/office/drawing/2014/main" id="{6911A388-ED58-054A-81E6-DC7A6C1F62F4}"/>
                </a:ext>
              </a:extLst>
            </p:cNvPr>
            <p:cNvSpPr/>
            <p:nvPr/>
          </p:nvSpPr>
          <p:spPr>
            <a:xfrm>
              <a:off x="4288316" y="-1768872"/>
              <a:ext cx="723042" cy="540581"/>
            </a:xfrm>
            <a:custGeom>
              <a:avLst/>
              <a:gdLst>
                <a:gd name="connsiteX0" fmla="*/ 11 w 723042"/>
                <a:gd name="connsiteY0" fmla="*/ 11 h 540581"/>
                <a:gd name="connsiteX1" fmla="*/ 723054 w 723042"/>
                <a:gd name="connsiteY1" fmla="*/ 11 h 540581"/>
                <a:gd name="connsiteX2" fmla="*/ 723054 w 723042"/>
                <a:gd name="connsiteY2" fmla="*/ 540593 h 540581"/>
                <a:gd name="connsiteX3" fmla="*/ 11 w 723042"/>
                <a:gd name="connsiteY3" fmla="*/ 540593 h 540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3042" h="540581">
                  <a:moveTo>
                    <a:pt x="11" y="11"/>
                  </a:moveTo>
                  <a:lnTo>
                    <a:pt x="723054" y="11"/>
                  </a:lnTo>
                  <a:lnTo>
                    <a:pt x="723054" y="540593"/>
                  </a:lnTo>
                  <a:lnTo>
                    <a:pt x="11" y="540593"/>
                  </a:lnTo>
                  <a:close/>
                </a:path>
              </a:pathLst>
            </a:custGeom>
            <a:noFill/>
            <a:ln w="19050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" name="Freeform: Shape 40">
              <a:extLst>
                <a:ext uri="{FF2B5EF4-FFF2-40B4-BE49-F238E27FC236}">
                  <a16:creationId xmlns:a16="http://schemas.microsoft.com/office/drawing/2014/main" id="{2A16D97A-6FC8-0F49-B927-7A75D4212421}"/>
                </a:ext>
              </a:extLst>
            </p:cNvPr>
            <p:cNvSpPr/>
            <p:nvPr/>
          </p:nvSpPr>
          <p:spPr>
            <a:xfrm>
              <a:off x="4352925" y="-1609357"/>
              <a:ext cx="171450" cy="222884"/>
            </a:xfrm>
            <a:custGeom>
              <a:avLst/>
              <a:gdLst>
                <a:gd name="connsiteX0" fmla="*/ 171468 w 171450"/>
                <a:gd name="connsiteY0" fmla="*/ 85753 h 222884"/>
                <a:gd name="connsiteX1" fmla="*/ 85743 w 171450"/>
                <a:gd name="connsiteY1" fmla="*/ 222913 h 222884"/>
                <a:gd name="connsiteX2" fmla="*/ 18 w 171450"/>
                <a:gd name="connsiteY2" fmla="*/ 85753 h 222884"/>
                <a:gd name="connsiteX3" fmla="*/ 85743 w 171450"/>
                <a:gd name="connsiteY3" fmla="*/ 28 h 222884"/>
                <a:gd name="connsiteX4" fmla="*/ 171468 w 171450"/>
                <a:gd name="connsiteY4" fmla="*/ 85753 h 22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222884">
                  <a:moveTo>
                    <a:pt x="171468" y="85753"/>
                  </a:moveTo>
                  <a:cubicBezTo>
                    <a:pt x="171468" y="133102"/>
                    <a:pt x="85743" y="222913"/>
                    <a:pt x="85743" y="222913"/>
                  </a:cubicBezTo>
                  <a:cubicBezTo>
                    <a:pt x="85743" y="222913"/>
                    <a:pt x="18" y="133102"/>
                    <a:pt x="18" y="85753"/>
                  </a:cubicBezTo>
                  <a:cubicBezTo>
                    <a:pt x="18" y="38408"/>
                    <a:pt x="38398" y="28"/>
                    <a:pt x="85743" y="28"/>
                  </a:cubicBezTo>
                  <a:cubicBezTo>
                    <a:pt x="133088" y="28"/>
                    <a:pt x="171468" y="38408"/>
                    <a:pt x="171468" y="85753"/>
                  </a:cubicBezTo>
                  <a:close/>
                </a:path>
              </a:pathLst>
            </a:custGeom>
            <a:noFill/>
            <a:ln w="1905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" name="Freeform: Shape 41">
              <a:extLst>
                <a:ext uri="{FF2B5EF4-FFF2-40B4-BE49-F238E27FC236}">
                  <a16:creationId xmlns:a16="http://schemas.microsoft.com/office/drawing/2014/main" id="{0499C29E-15BA-BF4D-B318-3422162E1961}"/>
                </a:ext>
              </a:extLst>
            </p:cNvPr>
            <p:cNvSpPr/>
            <p:nvPr/>
          </p:nvSpPr>
          <p:spPr>
            <a:xfrm>
              <a:off x="4410075" y="-1552207"/>
              <a:ext cx="57150" cy="57150"/>
            </a:xfrm>
            <a:custGeom>
              <a:avLst/>
              <a:gdLst>
                <a:gd name="connsiteX0" fmla="*/ 57174 w 57150"/>
                <a:gd name="connsiteY0" fmla="*/ 28609 h 57150"/>
                <a:gd name="connsiteX1" fmla="*/ 28599 w 57150"/>
                <a:gd name="connsiteY1" fmla="*/ 57184 h 57150"/>
                <a:gd name="connsiteX2" fmla="*/ 24 w 57150"/>
                <a:gd name="connsiteY2" fmla="*/ 28609 h 57150"/>
                <a:gd name="connsiteX3" fmla="*/ 28599 w 57150"/>
                <a:gd name="connsiteY3" fmla="*/ 34 h 57150"/>
                <a:gd name="connsiteX4" fmla="*/ 57174 w 57150"/>
                <a:gd name="connsiteY4" fmla="*/ 28609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57150">
                  <a:moveTo>
                    <a:pt x="57174" y="28609"/>
                  </a:moveTo>
                  <a:cubicBezTo>
                    <a:pt x="57174" y="44391"/>
                    <a:pt x="44381" y="57184"/>
                    <a:pt x="28599" y="57184"/>
                  </a:cubicBezTo>
                  <a:cubicBezTo>
                    <a:pt x="12817" y="57184"/>
                    <a:pt x="24" y="44391"/>
                    <a:pt x="24" y="28609"/>
                  </a:cubicBezTo>
                  <a:cubicBezTo>
                    <a:pt x="24" y="12827"/>
                    <a:pt x="12817" y="34"/>
                    <a:pt x="28599" y="34"/>
                  </a:cubicBezTo>
                  <a:cubicBezTo>
                    <a:pt x="44381" y="34"/>
                    <a:pt x="57174" y="12827"/>
                    <a:pt x="57174" y="28609"/>
                  </a:cubicBezTo>
                  <a:close/>
                </a:path>
              </a:pathLst>
            </a:custGeom>
            <a:noFill/>
            <a:ln w="1905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Freeform: Shape 42">
              <a:extLst>
                <a:ext uri="{FF2B5EF4-FFF2-40B4-BE49-F238E27FC236}">
                  <a16:creationId xmlns:a16="http://schemas.microsoft.com/office/drawing/2014/main" id="{67D36F97-7B4E-B144-B687-EF7440200321}"/>
                </a:ext>
              </a:extLst>
            </p:cNvPr>
            <p:cNvSpPr/>
            <p:nvPr/>
          </p:nvSpPr>
          <p:spPr>
            <a:xfrm>
              <a:off x="4657725" y="-1399807"/>
              <a:ext cx="279396" cy="104775"/>
            </a:xfrm>
            <a:custGeom>
              <a:avLst/>
              <a:gdLst>
                <a:gd name="connsiteX0" fmla="*/ 52438 w 279396"/>
                <a:gd name="connsiteY0" fmla="*/ 50 h 104775"/>
                <a:gd name="connsiteX1" fmla="*/ 227059 w 279396"/>
                <a:gd name="connsiteY1" fmla="*/ 50 h 104775"/>
                <a:gd name="connsiteX2" fmla="*/ 279447 w 279396"/>
                <a:gd name="connsiteY2" fmla="*/ 52438 h 104775"/>
                <a:gd name="connsiteX3" fmla="*/ 227059 w 279396"/>
                <a:gd name="connsiteY3" fmla="*/ 104825 h 104775"/>
                <a:gd name="connsiteX4" fmla="*/ 52438 w 279396"/>
                <a:gd name="connsiteY4" fmla="*/ 104825 h 104775"/>
                <a:gd name="connsiteX5" fmla="*/ 50 w 279396"/>
                <a:gd name="connsiteY5" fmla="*/ 52438 h 104775"/>
                <a:gd name="connsiteX6" fmla="*/ 52438 w 279396"/>
                <a:gd name="connsiteY6" fmla="*/ 50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9396" h="104775">
                  <a:moveTo>
                    <a:pt x="52438" y="50"/>
                  </a:moveTo>
                  <a:lnTo>
                    <a:pt x="227059" y="50"/>
                  </a:lnTo>
                  <a:cubicBezTo>
                    <a:pt x="255906" y="258"/>
                    <a:pt x="279239" y="23591"/>
                    <a:pt x="279447" y="52438"/>
                  </a:cubicBezTo>
                  <a:cubicBezTo>
                    <a:pt x="279239" y="81284"/>
                    <a:pt x="255906" y="104617"/>
                    <a:pt x="227059" y="104825"/>
                  </a:cubicBezTo>
                  <a:lnTo>
                    <a:pt x="52438" y="104825"/>
                  </a:lnTo>
                  <a:cubicBezTo>
                    <a:pt x="23505" y="104825"/>
                    <a:pt x="50" y="81370"/>
                    <a:pt x="50" y="52438"/>
                  </a:cubicBezTo>
                  <a:cubicBezTo>
                    <a:pt x="50" y="23505"/>
                    <a:pt x="23505" y="50"/>
                    <a:pt x="52438" y="50"/>
                  </a:cubicBezTo>
                  <a:close/>
                </a:path>
              </a:pathLst>
            </a:custGeom>
            <a:noFill/>
            <a:ln w="1905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Freeform: Shape 43">
              <a:extLst>
                <a:ext uri="{FF2B5EF4-FFF2-40B4-BE49-F238E27FC236}">
                  <a16:creationId xmlns:a16="http://schemas.microsoft.com/office/drawing/2014/main" id="{354EDAA3-601B-F547-AE0B-F750D66344EB}"/>
                </a:ext>
              </a:extLst>
            </p:cNvPr>
            <p:cNvSpPr/>
            <p:nvPr/>
          </p:nvSpPr>
          <p:spPr>
            <a:xfrm>
              <a:off x="4848224" y="-1371232"/>
              <a:ext cx="48882" cy="48892"/>
            </a:xfrm>
            <a:custGeom>
              <a:avLst/>
              <a:gdLst>
                <a:gd name="connsiteX0" fmla="*/ 24512 w 48882"/>
                <a:gd name="connsiteY0" fmla="*/ 53 h 48892"/>
                <a:gd name="connsiteX1" fmla="*/ 24512 w 48882"/>
                <a:gd name="connsiteY1" fmla="*/ 53 h 48892"/>
                <a:gd name="connsiteX2" fmla="*/ 48953 w 48882"/>
                <a:gd name="connsiteY2" fmla="*/ 24504 h 48892"/>
                <a:gd name="connsiteX3" fmla="*/ 24512 w 48882"/>
                <a:gd name="connsiteY3" fmla="*/ 48945 h 48892"/>
                <a:gd name="connsiteX4" fmla="*/ 71 w 48882"/>
                <a:gd name="connsiteY4" fmla="*/ 24504 h 48892"/>
                <a:gd name="connsiteX5" fmla="*/ 24196 w 48882"/>
                <a:gd name="connsiteY5" fmla="*/ 54 h 48892"/>
                <a:gd name="connsiteX6" fmla="*/ 24512 w 48882"/>
                <a:gd name="connsiteY6" fmla="*/ 53 h 488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882" h="48892">
                  <a:moveTo>
                    <a:pt x="24512" y="53"/>
                  </a:moveTo>
                  <a:lnTo>
                    <a:pt x="24512" y="53"/>
                  </a:lnTo>
                  <a:cubicBezTo>
                    <a:pt x="37941" y="228"/>
                    <a:pt x="48784" y="11075"/>
                    <a:pt x="48953" y="24504"/>
                  </a:cubicBezTo>
                  <a:cubicBezTo>
                    <a:pt x="48778" y="37930"/>
                    <a:pt x="37937" y="48771"/>
                    <a:pt x="24512" y="48945"/>
                  </a:cubicBezTo>
                  <a:cubicBezTo>
                    <a:pt x="11086" y="48771"/>
                    <a:pt x="245" y="37930"/>
                    <a:pt x="71" y="24504"/>
                  </a:cubicBezTo>
                  <a:cubicBezTo>
                    <a:pt x="-19" y="11090"/>
                    <a:pt x="10782" y="143"/>
                    <a:pt x="24196" y="54"/>
                  </a:cubicBezTo>
                  <a:cubicBezTo>
                    <a:pt x="24301" y="53"/>
                    <a:pt x="24407" y="53"/>
                    <a:pt x="24512" y="53"/>
                  </a:cubicBezTo>
                  <a:close/>
                </a:path>
              </a:pathLst>
            </a:custGeom>
            <a:noFill/>
            <a:ln w="1905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eform: Shape 44">
              <a:extLst>
                <a:ext uri="{FF2B5EF4-FFF2-40B4-BE49-F238E27FC236}">
                  <a16:creationId xmlns:a16="http://schemas.microsoft.com/office/drawing/2014/main" id="{BD64DDD1-3407-1B4D-B05D-02257BA694B2}"/>
                </a:ext>
              </a:extLst>
            </p:cNvPr>
            <p:cNvSpPr/>
            <p:nvPr/>
          </p:nvSpPr>
          <p:spPr>
            <a:xfrm>
              <a:off x="4562475" y="-1490294"/>
              <a:ext cx="123825" cy="9525"/>
            </a:xfrm>
            <a:custGeom>
              <a:avLst/>
              <a:gdLst>
                <a:gd name="connsiteX0" fmla="*/ 123865 w 123825"/>
                <a:gd name="connsiteY0" fmla="*/ 40 h 9525"/>
                <a:gd name="connsiteX1" fmla="*/ 40 w 123825"/>
                <a:gd name="connsiteY1" fmla="*/ 4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825" h="9525">
                  <a:moveTo>
                    <a:pt x="123865" y="40"/>
                  </a:moveTo>
                  <a:lnTo>
                    <a:pt x="40" y="40"/>
                  </a:lnTo>
                </a:path>
              </a:pathLst>
            </a:custGeom>
            <a:noFill/>
            <a:ln w="19050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Freeform: Shape 45">
              <a:extLst>
                <a:ext uri="{FF2B5EF4-FFF2-40B4-BE49-F238E27FC236}">
                  <a16:creationId xmlns:a16="http://schemas.microsoft.com/office/drawing/2014/main" id="{BCFB9471-6EC1-8E44-9BB6-98BDD965EA81}"/>
                </a:ext>
              </a:extLst>
            </p:cNvPr>
            <p:cNvSpPr/>
            <p:nvPr/>
          </p:nvSpPr>
          <p:spPr>
            <a:xfrm>
              <a:off x="4648200" y="-1552207"/>
              <a:ext cx="32661" cy="113919"/>
            </a:xfrm>
            <a:custGeom>
              <a:avLst/>
              <a:gdLst>
                <a:gd name="connsiteX0" fmla="*/ 49 w 32661"/>
                <a:gd name="connsiteY0" fmla="*/ 34 h 113919"/>
                <a:gd name="connsiteX1" fmla="*/ 32710 w 32661"/>
                <a:gd name="connsiteY1" fmla="*/ 57403 h 113919"/>
                <a:gd name="connsiteX2" fmla="*/ 49 w 32661"/>
                <a:gd name="connsiteY2" fmla="*/ 113953 h 113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61" h="113919">
                  <a:moveTo>
                    <a:pt x="49" y="34"/>
                  </a:moveTo>
                  <a:lnTo>
                    <a:pt x="32710" y="57403"/>
                  </a:lnTo>
                  <a:lnTo>
                    <a:pt x="49" y="113953"/>
                  </a:lnTo>
                </a:path>
              </a:pathLst>
            </a:custGeom>
            <a:noFill/>
            <a:ln w="19050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065CBFB5-642E-FD4E-B1A8-1675F12E2265}"/>
              </a:ext>
            </a:extLst>
          </p:cNvPr>
          <p:cNvGrpSpPr>
            <a:grpSpLocks noChangeAspect="1"/>
          </p:cNvGrpSpPr>
          <p:nvPr/>
        </p:nvGrpSpPr>
        <p:grpSpPr>
          <a:xfrm>
            <a:off x="733170" y="2158594"/>
            <a:ext cx="900000" cy="900000"/>
            <a:chOff x="1078545" y="-895350"/>
            <a:chExt cx="895350" cy="895350"/>
          </a:xfrm>
        </p:grpSpPr>
        <p:sp>
          <p:nvSpPr>
            <p:cNvPr id="78" name="Freeform: Shape 47">
              <a:extLst>
                <a:ext uri="{FF2B5EF4-FFF2-40B4-BE49-F238E27FC236}">
                  <a16:creationId xmlns:a16="http://schemas.microsoft.com/office/drawing/2014/main" id="{6D08DF4A-C0FE-B346-8A05-D468DF807065}"/>
                </a:ext>
              </a:extLst>
            </p:cNvPr>
            <p:cNvSpPr/>
            <p:nvPr/>
          </p:nvSpPr>
          <p:spPr>
            <a:xfrm>
              <a:off x="1078545" y="-895350"/>
              <a:ext cx="895350" cy="895350"/>
            </a:xfrm>
            <a:custGeom>
              <a:avLst/>
              <a:gdLst>
                <a:gd name="connsiteX0" fmla="*/ 3 w 895350"/>
                <a:gd name="connsiteY0" fmla="*/ 66678 h 895350"/>
                <a:gd name="connsiteX1" fmla="*/ 3 w 895350"/>
                <a:gd name="connsiteY1" fmla="*/ 828678 h 895350"/>
                <a:gd name="connsiteX2" fmla="*/ 66678 w 895350"/>
                <a:gd name="connsiteY2" fmla="*/ 895353 h 895350"/>
                <a:gd name="connsiteX3" fmla="*/ 828678 w 895350"/>
                <a:gd name="connsiteY3" fmla="*/ 895353 h 895350"/>
                <a:gd name="connsiteX4" fmla="*/ 895353 w 895350"/>
                <a:gd name="connsiteY4" fmla="*/ 828678 h 895350"/>
                <a:gd name="connsiteX5" fmla="*/ 895353 w 895350"/>
                <a:gd name="connsiteY5" fmla="*/ 66678 h 895350"/>
                <a:gd name="connsiteX6" fmla="*/ 828678 w 895350"/>
                <a:gd name="connsiteY6" fmla="*/ 3 h 895350"/>
                <a:gd name="connsiteX7" fmla="*/ 66678 w 895350"/>
                <a:gd name="connsiteY7" fmla="*/ 3 h 895350"/>
                <a:gd name="connsiteX8" fmla="*/ 3 w 895350"/>
                <a:gd name="connsiteY8" fmla="*/ 66678 h 895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95350" h="895350">
                  <a:moveTo>
                    <a:pt x="3" y="66678"/>
                  </a:moveTo>
                  <a:lnTo>
                    <a:pt x="3" y="828678"/>
                  </a:lnTo>
                  <a:cubicBezTo>
                    <a:pt x="3" y="865502"/>
                    <a:pt x="29854" y="895353"/>
                    <a:pt x="66678" y="895353"/>
                  </a:cubicBezTo>
                  <a:lnTo>
                    <a:pt x="828678" y="895353"/>
                  </a:lnTo>
                  <a:cubicBezTo>
                    <a:pt x="865502" y="895353"/>
                    <a:pt x="895353" y="865502"/>
                    <a:pt x="895353" y="828678"/>
                  </a:cubicBezTo>
                  <a:lnTo>
                    <a:pt x="895353" y="66678"/>
                  </a:lnTo>
                  <a:cubicBezTo>
                    <a:pt x="895353" y="29854"/>
                    <a:pt x="865502" y="3"/>
                    <a:pt x="828678" y="3"/>
                  </a:cubicBezTo>
                  <a:lnTo>
                    <a:pt x="66678" y="3"/>
                  </a:lnTo>
                  <a:cubicBezTo>
                    <a:pt x="29854" y="3"/>
                    <a:pt x="3" y="29854"/>
                    <a:pt x="3" y="66678"/>
                  </a:cubicBezTo>
                </a:path>
              </a:pathLst>
            </a:custGeom>
            <a:solidFill>
              <a:srgbClr val="62DE7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9" name="Freeform: Shape 48">
              <a:extLst>
                <a:ext uri="{FF2B5EF4-FFF2-40B4-BE49-F238E27FC236}">
                  <a16:creationId xmlns:a16="http://schemas.microsoft.com/office/drawing/2014/main" id="{8FEF4C17-EC90-7445-8CAC-3CB22E87249D}"/>
                </a:ext>
              </a:extLst>
            </p:cNvPr>
            <p:cNvSpPr/>
            <p:nvPr/>
          </p:nvSpPr>
          <p:spPr>
            <a:xfrm>
              <a:off x="1221420" y="-752475"/>
              <a:ext cx="609600" cy="609600"/>
            </a:xfrm>
            <a:custGeom>
              <a:avLst/>
              <a:gdLst>
                <a:gd name="connsiteX0" fmla="*/ 571518 w 609600"/>
                <a:gd name="connsiteY0" fmla="*/ 609618 h 609600"/>
                <a:gd name="connsiteX1" fmla="*/ 38118 w 609600"/>
                <a:gd name="connsiteY1" fmla="*/ 609618 h 609600"/>
                <a:gd name="connsiteX2" fmla="*/ 18 w 609600"/>
                <a:gd name="connsiteY2" fmla="*/ 571518 h 609600"/>
                <a:gd name="connsiteX3" fmla="*/ 18 w 609600"/>
                <a:gd name="connsiteY3" fmla="*/ 38118 h 609600"/>
                <a:gd name="connsiteX4" fmla="*/ 38118 w 609600"/>
                <a:gd name="connsiteY4" fmla="*/ 18 h 609600"/>
                <a:gd name="connsiteX5" fmla="*/ 571518 w 609600"/>
                <a:gd name="connsiteY5" fmla="*/ 18 h 609600"/>
                <a:gd name="connsiteX6" fmla="*/ 609618 w 609600"/>
                <a:gd name="connsiteY6" fmla="*/ 38118 h 609600"/>
                <a:gd name="connsiteX7" fmla="*/ 609618 w 609600"/>
                <a:gd name="connsiteY7" fmla="*/ 571518 h 609600"/>
                <a:gd name="connsiteX8" fmla="*/ 571518 w 609600"/>
                <a:gd name="connsiteY8" fmla="*/ 609618 h 609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09600" h="609600">
                  <a:moveTo>
                    <a:pt x="571518" y="609618"/>
                  </a:moveTo>
                  <a:lnTo>
                    <a:pt x="38118" y="609618"/>
                  </a:lnTo>
                  <a:cubicBezTo>
                    <a:pt x="17076" y="609618"/>
                    <a:pt x="18" y="592560"/>
                    <a:pt x="18" y="571518"/>
                  </a:cubicBezTo>
                  <a:lnTo>
                    <a:pt x="18" y="38118"/>
                  </a:lnTo>
                  <a:cubicBezTo>
                    <a:pt x="18" y="17076"/>
                    <a:pt x="17076" y="18"/>
                    <a:pt x="38118" y="18"/>
                  </a:cubicBezTo>
                  <a:lnTo>
                    <a:pt x="571518" y="18"/>
                  </a:lnTo>
                  <a:cubicBezTo>
                    <a:pt x="592560" y="18"/>
                    <a:pt x="609618" y="17076"/>
                    <a:pt x="609618" y="38118"/>
                  </a:cubicBezTo>
                  <a:lnTo>
                    <a:pt x="609618" y="571518"/>
                  </a:lnTo>
                  <a:cubicBezTo>
                    <a:pt x="609618" y="592560"/>
                    <a:pt x="592560" y="609618"/>
                    <a:pt x="571518" y="609618"/>
                  </a:cubicBezTo>
                  <a:close/>
                </a:path>
              </a:pathLst>
            </a:custGeom>
            <a:noFill/>
            <a:ln w="19050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0" name="Freeform: Shape 49">
              <a:extLst>
                <a:ext uri="{FF2B5EF4-FFF2-40B4-BE49-F238E27FC236}">
                  <a16:creationId xmlns:a16="http://schemas.microsoft.com/office/drawing/2014/main" id="{A62E4CDC-A615-A644-B9CC-113331E7A0D2}"/>
                </a:ext>
              </a:extLst>
            </p:cNvPr>
            <p:cNvSpPr/>
            <p:nvPr/>
          </p:nvSpPr>
          <p:spPr>
            <a:xfrm>
              <a:off x="1221420" y="-619125"/>
              <a:ext cx="609600" cy="9525"/>
            </a:xfrm>
            <a:custGeom>
              <a:avLst/>
              <a:gdLst>
                <a:gd name="connsiteX0" fmla="*/ 18 w 609600"/>
                <a:gd name="connsiteY0" fmla="*/ 32 h 9525"/>
                <a:gd name="connsiteX1" fmla="*/ 609618 w 609600"/>
                <a:gd name="connsiteY1" fmla="*/ 32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9600" h="9525">
                  <a:moveTo>
                    <a:pt x="18" y="32"/>
                  </a:moveTo>
                  <a:lnTo>
                    <a:pt x="609618" y="32"/>
                  </a:lnTo>
                </a:path>
              </a:pathLst>
            </a:custGeom>
            <a:noFill/>
            <a:ln w="19050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1" name="Freeform: Shape 50">
              <a:extLst>
                <a:ext uri="{FF2B5EF4-FFF2-40B4-BE49-F238E27FC236}">
                  <a16:creationId xmlns:a16="http://schemas.microsoft.com/office/drawing/2014/main" id="{04AA8D2F-B6C8-C846-B99F-CD453E89AFC8}"/>
                </a:ext>
              </a:extLst>
            </p:cNvPr>
            <p:cNvSpPr/>
            <p:nvPr/>
          </p:nvSpPr>
          <p:spPr>
            <a:xfrm>
              <a:off x="1278570" y="-695325"/>
              <a:ext cx="19050" cy="19050"/>
            </a:xfrm>
            <a:custGeom>
              <a:avLst/>
              <a:gdLst>
                <a:gd name="connsiteX0" fmla="*/ 19074 w 19050"/>
                <a:gd name="connsiteY0" fmla="*/ 9549 h 19050"/>
                <a:gd name="connsiteX1" fmla="*/ 9549 w 19050"/>
                <a:gd name="connsiteY1" fmla="*/ 19074 h 19050"/>
                <a:gd name="connsiteX2" fmla="*/ 24 w 19050"/>
                <a:gd name="connsiteY2" fmla="*/ 9549 h 19050"/>
                <a:gd name="connsiteX3" fmla="*/ 9549 w 19050"/>
                <a:gd name="connsiteY3" fmla="*/ 24 h 19050"/>
                <a:gd name="connsiteX4" fmla="*/ 19074 w 19050"/>
                <a:gd name="connsiteY4" fmla="*/ 9549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50" h="19050">
                  <a:moveTo>
                    <a:pt x="19074" y="9549"/>
                  </a:moveTo>
                  <a:cubicBezTo>
                    <a:pt x="19074" y="14810"/>
                    <a:pt x="14810" y="19074"/>
                    <a:pt x="9549" y="19074"/>
                  </a:cubicBezTo>
                  <a:cubicBezTo>
                    <a:pt x="4288" y="19074"/>
                    <a:pt x="24" y="14810"/>
                    <a:pt x="24" y="9549"/>
                  </a:cubicBezTo>
                  <a:cubicBezTo>
                    <a:pt x="24" y="4288"/>
                    <a:pt x="4288" y="24"/>
                    <a:pt x="9549" y="24"/>
                  </a:cubicBezTo>
                  <a:cubicBezTo>
                    <a:pt x="14810" y="24"/>
                    <a:pt x="19074" y="4288"/>
                    <a:pt x="19074" y="9549"/>
                  </a:cubicBezTo>
                  <a:close/>
                </a:path>
              </a:pathLst>
            </a:custGeom>
            <a:noFill/>
            <a:ln w="1905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2" name="Freeform: Shape 51">
              <a:extLst>
                <a:ext uri="{FF2B5EF4-FFF2-40B4-BE49-F238E27FC236}">
                  <a16:creationId xmlns:a16="http://schemas.microsoft.com/office/drawing/2014/main" id="{0E1B757E-F14F-CA4A-9691-DFE1031F85DE}"/>
                </a:ext>
              </a:extLst>
            </p:cNvPr>
            <p:cNvSpPr/>
            <p:nvPr/>
          </p:nvSpPr>
          <p:spPr>
            <a:xfrm>
              <a:off x="1345245" y="-695325"/>
              <a:ext cx="19050" cy="19050"/>
            </a:xfrm>
            <a:custGeom>
              <a:avLst/>
              <a:gdLst>
                <a:gd name="connsiteX0" fmla="*/ 19081 w 19050"/>
                <a:gd name="connsiteY0" fmla="*/ 9549 h 19050"/>
                <a:gd name="connsiteX1" fmla="*/ 9556 w 19050"/>
                <a:gd name="connsiteY1" fmla="*/ 19074 h 19050"/>
                <a:gd name="connsiteX2" fmla="*/ 31 w 19050"/>
                <a:gd name="connsiteY2" fmla="*/ 9549 h 19050"/>
                <a:gd name="connsiteX3" fmla="*/ 9556 w 19050"/>
                <a:gd name="connsiteY3" fmla="*/ 24 h 19050"/>
                <a:gd name="connsiteX4" fmla="*/ 19081 w 19050"/>
                <a:gd name="connsiteY4" fmla="*/ 9549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50" h="19050">
                  <a:moveTo>
                    <a:pt x="19081" y="9549"/>
                  </a:moveTo>
                  <a:cubicBezTo>
                    <a:pt x="19081" y="14810"/>
                    <a:pt x="14817" y="19074"/>
                    <a:pt x="9556" y="19074"/>
                  </a:cubicBezTo>
                  <a:cubicBezTo>
                    <a:pt x="4295" y="19074"/>
                    <a:pt x="31" y="14810"/>
                    <a:pt x="31" y="9549"/>
                  </a:cubicBezTo>
                  <a:cubicBezTo>
                    <a:pt x="31" y="4288"/>
                    <a:pt x="4295" y="24"/>
                    <a:pt x="9556" y="24"/>
                  </a:cubicBezTo>
                  <a:cubicBezTo>
                    <a:pt x="14817" y="24"/>
                    <a:pt x="19081" y="4288"/>
                    <a:pt x="19081" y="9549"/>
                  </a:cubicBezTo>
                  <a:close/>
                </a:path>
              </a:pathLst>
            </a:custGeom>
            <a:noFill/>
            <a:ln w="19050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3" name="Freeform: Shape 52">
              <a:extLst>
                <a:ext uri="{FF2B5EF4-FFF2-40B4-BE49-F238E27FC236}">
                  <a16:creationId xmlns:a16="http://schemas.microsoft.com/office/drawing/2014/main" id="{FEBF481B-712A-A447-85D5-D584406AB5B6}"/>
                </a:ext>
              </a:extLst>
            </p:cNvPr>
            <p:cNvSpPr/>
            <p:nvPr/>
          </p:nvSpPr>
          <p:spPr>
            <a:xfrm>
              <a:off x="1411920" y="-695325"/>
              <a:ext cx="19050" cy="19050"/>
            </a:xfrm>
            <a:custGeom>
              <a:avLst/>
              <a:gdLst>
                <a:gd name="connsiteX0" fmla="*/ 19088 w 19050"/>
                <a:gd name="connsiteY0" fmla="*/ 9549 h 19050"/>
                <a:gd name="connsiteX1" fmla="*/ 9563 w 19050"/>
                <a:gd name="connsiteY1" fmla="*/ 19074 h 19050"/>
                <a:gd name="connsiteX2" fmla="*/ 38 w 19050"/>
                <a:gd name="connsiteY2" fmla="*/ 9549 h 19050"/>
                <a:gd name="connsiteX3" fmla="*/ 9563 w 19050"/>
                <a:gd name="connsiteY3" fmla="*/ 24 h 19050"/>
                <a:gd name="connsiteX4" fmla="*/ 19088 w 19050"/>
                <a:gd name="connsiteY4" fmla="*/ 9549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50" h="19050">
                  <a:moveTo>
                    <a:pt x="19088" y="9549"/>
                  </a:moveTo>
                  <a:cubicBezTo>
                    <a:pt x="19088" y="14810"/>
                    <a:pt x="14824" y="19074"/>
                    <a:pt x="9563" y="19074"/>
                  </a:cubicBezTo>
                  <a:cubicBezTo>
                    <a:pt x="4302" y="19074"/>
                    <a:pt x="38" y="14810"/>
                    <a:pt x="38" y="9549"/>
                  </a:cubicBezTo>
                  <a:cubicBezTo>
                    <a:pt x="38" y="4288"/>
                    <a:pt x="4302" y="24"/>
                    <a:pt x="9563" y="24"/>
                  </a:cubicBezTo>
                  <a:cubicBezTo>
                    <a:pt x="14824" y="24"/>
                    <a:pt x="19088" y="4288"/>
                    <a:pt x="19088" y="9549"/>
                  </a:cubicBezTo>
                  <a:close/>
                </a:path>
              </a:pathLst>
            </a:custGeom>
            <a:noFill/>
            <a:ln w="19050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4" name="Freeform: Shape 53">
              <a:extLst>
                <a:ext uri="{FF2B5EF4-FFF2-40B4-BE49-F238E27FC236}">
                  <a16:creationId xmlns:a16="http://schemas.microsoft.com/office/drawing/2014/main" id="{7A667806-9916-F34D-83BA-FBD3EC1C015C}"/>
                </a:ext>
              </a:extLst>
            </p:cNvPr>
            <p:cNvSpPr/>
            <p:nvPr/>
          </p:nvSpPr>
          <p:spPr>
            <a:xfrm>
              <a:off x="1392412" y="-414366"/>
              <a:ext cx="68980" cy="68980"/>
            </a:xfrm>
            <a:custGeom>
              <a:avLst/>
              <a:gdLst>
                <a:gd name="connsiteX0" fmla="*/ 69016 w 68980"/>
                <a:gd name="connsiteY0" fmla="*/ 34544 h 68980"/>
                <a:gd name="connsiteX1" fmla="*/ 34526 w 68980"/>
                <a:gd name="connsiteY1" fmla="*/ 69034 h 68980"/>
                <a:gd name="connsiteX2" fmla="*/ 36 w 68980"/>
                <a:gd name="connsiteY2" fmla="*/ 34544 h 68980"/>
                <a:gd name="connsiteX3" fmla="*/ 34526 w 68980"/>
                <a:gd name="connsiteY3" fmla="*/ 53 h 68980"/>
                <a:gd name="connsiteX4" fmla="*/ 69016 w 68980"/>
                <a:gd name="connsiteY4" fmla="*/ 34544 h 68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980" h="68980">
                  <a:moveTo>
                    <a:pt x="69016" y="34544"/>
                  </a:moveTo>
                  <a:cubicBezTo>
                    <a:pt x="69016" y="53592"/>
                    <a:pt x="53574" y="69034"/>
                    <a:pt x="34526" y="69034"/>
                  </a:cubicBezTo>
                  <a:cubicBezTo>
                    <a:pt x="15478" y="69034"/>
                    <a:pt x="36" y="53592"/>
                    <a:pt x="36" y="34544"/>
                  </a:cubicBezTo>
                  <a:cubicBezTo>
                    <a:pt x="36" y="15495"/>
                    <a:pt x="15478" y="53"/>
                    <a:pt x="34526" y="53"/>
                  </a:cubicBezTo>
                  <a:cubicBezTo>
                    <a:pt x="53574" y="53"/>
                    <a:pt x="69016" y="15495"/>
                    <a:pt x="69016" y="34544"/>
                  </a:cubicBezTo>
                  <a:close/>
                </a:path>
              </a:pathLst>
            </a:custGeom>
            <a:noFill/>
            <a:ln w="1905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5" name="Freeform: Shape 54">
              <a:extLst>
                <a:ext uri="{FF2B5EF4-FFF2-40B4-BE49-F238E27FC236}">
                  <a16:creationId xmlns:a16="http://schemas.microsoft.com/office/drawing/2014/main" id="{8B0D331B-0136-4844-A9B7-586104FFF4C0}"/>
                </a:ext>
              </a:extLst>
            </p:cNvPr>
            <p:cNvSpPr/>
            <p:nvPr/>
          </p:nvSpPr>
          <p:spPr>
            <a:xfrm>
              <a:off x="1556176" y="-550785"/>
              <a:ext cx="68967" cy="68967"/>
            </a:xfrm>
            <a:custGeom>
              <a:avLst/>
              <a:gdLst>
                <a:gd name="connsiteX0" fmla="*/ 68804 w 68967"/>
                <a:gd name="connsiteY0" fmla="*/ 38351 h 68967"/>
                <a:gd name="connsiteX1" fmla="*/ 30709 w 68967"/>
                <a:gd name="connsiteY1" fmla="*/ 68790 h 68967"/>
                <a:gd name="connsiteX2" fmla="*/ 269 w 68967"/>
                <a:gd name="connsiteY2" fmla="*/ 30695 h 68967"/>
                <a:gd name="connsiteX3" fmla="*/ 38324 w 68967"/>
                <a:gd name="connsiteY3" fmla="*/ 251 h 68967"/>
                <a:gd name="connsiteX4" fmla="*/ 68809 w 68967"/>
                <a:gd name="connsiteY4" fmla="*/ 38310 h 68967"/>
                <a:gd name="connsiteX5" fmla="*/ 68804 w 68967"/>
                <a:gd name="connsiteY5" fmla="*/ 38351 h 689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8967" h="68967">
                  <a:moveTo>
                    <a:pt x="68804" y="38351"/>
                  </a:moveTo>
                  <a:cubicBezTo>
                    <a:pt x="66690" y="57276"/>
                    <a:pt x="49634" y="70904"/>
                    <a:pt x="30709" y="68790"/>
                  </a:cubicBezTo>
                  <a:cubicBezTo>
                    <a:pt x="11783" y="66676"/>
                    <a:pt x="-1845" y="49620"/>
                    <a:pt x="269" y="30695"/>
                  </a:cubicBezTo>
                  <a:cubicBezTo>
                    <a:pt x="2382" y="11785"/>
                    <a:pt x="19412" y="-1839"/>
                    <a:pt x="38324" y="251"/>
                  </a:cubicBezTo>
                  <a:cubicBezTo>
                    <a:pt x="57252" y="2343"/>
                    <a:pt x="70900" y="19382"/>
                    <a:pt x="68809" y="38310"/>
                  </a:cubicBezTo>
                  <a:cubicBezTo>
                    <a:pt x="68807" y="38324"/>
                    <a:pt x="68806" y="38337"/>
                    <a:pt x="68804" y="38351"/>
                  </a:cubicBezTo>
                  <a:close/>
                </a:path>
              </a:pathLst>
            </a:custGeom>
            <a:noFill/>
            <a:ln w="1905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6" name="Freeform: Shape 55">
              <a:extLst>
                <a:ext uri="{FF2B5EF4-FFF2-40B4-BE49-F238E27FC236}">
                  <a16:creationId xmlns:a16="http://schemas.microsoft.com/office/drawing/2014/main" id="{5EEDC5AB-5D92-5D49-9D1F-4487B41D10D9}"/>
                </a:ext>
              </a:extLst>
            </p:cNvPr>
            <p:cNvSpPr/>
            <p:nvPr/>
          </p:nvSpPr>
          <p:spPr>
            <a:xfrm>
              <a:off x="1452601" y="-494709"/>
              <a:ext cx="111137" cy="89001"/>
            </a:xfrm>
            <a:custGeom>
              <a:avLst/>
              <a:gdLst>
                <a:gd name="connsiteX0" fmla="*/ 111180 w 111137"/>
                <a:gd name="connsiteY0" fmla="*/ 45 h 89001"/>
                <a:gd name="connsiteX1" fmla="*/ 42 w 111137"/>
                <a:gd name="connsiteY1" fmla="*/ 89047 h 89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1137" h="89001">
                  <a:moveTo>
                    <a:pt x="111180" y="45"/>
                  </a:moveTo>
                  <a:lnTo>
                    <a:pt x="42" y="89047"/>
                  </a:lnTo>
                </a:path>
              </a:pathLst>
            </a:custGeom>
            <a:noFill/>
            <a:ln w="1905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7" name="Freeform: Shape 56">
              <a:extLst>
                <a:ext uri="{FF2B5EF4-FFF2-40B4-BE49-F238E27FC236}">
                  <a16:creationId xmlns:a16="http://schemas.microsoft.com/office/drawing/2014/main" id="{4094A39B-E41C-F84D-9938-3D4AC8C92ADE}"/>
                </a:ext>
              </a:extLst>
            </p:cNvPr>
            <p:cNvSpPr/>
            <p:nvPr/>
          </p:nvSpPr>
          <p:spPr>
            <a:xfrm>
              <a:off x="1551260" y="-277951"/>
              <a:ext cx="68985" cy="68986"/>
            </a:xfrm>
            <a:custGeom>
              <a:avLst/>
              <a:gdLst>
                <a:gd name="connsiteX0" fmla="*/ 68824 w 68985"/>
                <a:gd name="connsiteY0" fmla="*/ 30741 h 68986"/>
                <a:gd name="connsiteX1" fmla="*/ 30726 w 68985"/>
                <a:gd name="connsiteY1" fmla="*/ 283 h 68986"/>
                <a:gd name="connsiteX2" fmla="*/ 268 w 68985"/>
                <a:gd name="connsiteY2" fmla="*/ 38381 h 68986"/>
                <a:gd name="connsiteX3" fmla="*/ 38344 w 68985"/>
                <a:gd name="connsiteY3" fmla="*/ 68841 h 68986"/>
                <a:gd name="connsiteX4" fmla="*/ 68824 w 68985"/>
                <a:gd name="connsiteY4" fmla="*/ 30744 h 68986"/>
                <a:gd name="connsiteX5" fmla="*/ 68824 w 68985"/>
                <a:gd name="connsiteY5" fmla="*/ 30741 h 689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8985" h="68986">
                  <a:moveTo>
                    <a:pt x="68824" y="30741"/>
                  </a:moveTo>
                  <a:cubicBezTo>
                    <a:pt x="66714" y="11810"/>
                    <a:pt x="49657" y="-1827"/>
                    <a:pt x="30726" y="283"/>
                  </a:cubicBezTo>
                  <a:cubicBezTo>
                    <a:pt x="11795" y="2393"/>
                    <a:pt x="-1842" y="19449"/>
                    <a:pt x="268" y="38381"/>
                  </a:cubicBezTo>
                  <a:cubicBezTo>
                    <a:pt x="2376" y="57303"/>
                    <a:pt x="19420" y="70938"/>
                    <a:pt x="38344" y="68841"/>
                  </a:cubicBezTo>
                  <a:cubicBezTo>
                    <a:pt x="57281" y="66738"/>
                    <a:pt x="70927" y="49681"/>
                    <a:pt x="68824" y="30744"/>
                  </a:cubicBezTo>
                  <a:cubicBezTo>
                    <a:pt x="68824" y="30743"/>
                    <a:pt x="68824" y="30742"/>
                    <a:pt x="68824" y="30741"/>
                  </a:cubicBezTo>
                  <a:close/>
                </a:path>
              </a:pathLst>
            </a:custGeom>
            <a:noFill/>
            <a:ln w="1905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8" name="Freeform: Shape 57">
              <a:extLst>
                <a:ext uri="{FF2B5EF4-FFF2-40B4-BE49-F238E27FC236}">
                  <a16:creationId xmlns:a16="http://schemas.microsoft.com/office/drawing/2014/main" id="{9C56E14D-6469-3A4A-AC86-BB725365EC0C}"/>
                </a:ext>
              </a:extLst>
            </p:cNvPr>
            <p:cNvSpPr/>
            <p:nvPr/>
          </p:nvSpPr>
          <p:spPr>
            <a:xfrm>
              <a:off x="1447695" y="-354044"/>
              <a:ext cx="111128" cy="89001"/>
            </a:xfrm>
            <a:custGeom>
              <a:avLst/>
              <a:gdLst>
                <a:gd name="connsiteX0" fmla="*/ 111170 w 111128"/>
                <a:gd name="connsiteY0" fmla="*/ 89061 h 89001"/>
                <a:gd name="connsiteX1" fmla="*/ 42 w 111128"/>
                <a:gd name="connsiteY1" fmla="*/ 60 h 89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1128" h="89001">
                  <a:moveTo>
                    <a:pt x="111170" y="89061"/>
                  </a:moveTo>
                  <a:lnTo>
                    <a:pt x="42" y="60"/>
                  </a:lnTo>
                </a:path>
              </a:pathLst>
            </a:custGeom>
            <a:noFill/>
            <a:ln w="1905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226118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FEE2E028-4581-42B5-9C9F-E8F6429A8C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98"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6" name="Object 5">
                        <a:extLst>
                          <a:ext uri="{FF2B5EF4-FFF2-40B4-BE49-F238E27FC236}">
                            <a16:creationId xmlns:a16="http://schemas.microsoft.com/office/drawing/2014/main" id="{FEE2E028-4581-42B5-9C9F-E8F6429A8C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B877D24-81EC-4F07-AB9A-FE9AC805413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B3C3E8-E3FC-064D-A357-3AC35CDD0F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733" y="53755"/>
            <a:ext cx="3582124" cy="841977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tack Overflow</a:t>
            </a:r>
            <a:b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endParaRPr lang="en-BG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4" name="Picture Placeholder 23">
            <a:extLst>
              <a:ext uri="{FF2B5EF4-FFF2-40B4-BE49-F238E27FC236}">
                <a16:creationId xmlns:a16="http://schemas.microsoft.com/office/drawing/2014/main" id="{D23B140A-AABC-4A43-AF66-A553E18DB55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247356" y="2407484"/>
            <a:ext cx="9963662" cy="3397425"/>
          </a:xfrm>
          <a:prstGeom prst="roundRect">
            <a:avLst>
              <a:gd name="adj" fmla="val 3332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2BD2BED5-7B7D-4E0B-818F-85E61DE45B3D}"/>
              </a:ext>
            </a:extLst>
          </p:cNvPr>
          <p:cNvSpPr txBox="1"/>
          <p:nvPr/>
        </p:nvSpPr>
        <p:spPr>
          <a:xfrm>
            <a:off x="4736860" y="6151600"/>
            <a:ext cx="7005961" cy="706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r>
              <a:rPr lang="en-US" dirty="0">
                <a:hlinkClick r:id="rId7"/>
              </a:rPr>
              <a:t>https://insights.stackoverflow.com/survey/2021#section-most-loved-dreaded-and-wanted-web-frameworks</a:t>
            </a:r>
            <a:endParaRPr lang="bg-BG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C947D92-2D6D-472D-9573-856544BD640F}"/>
              </a:ext>
            </a:extLst>
          </p:cNvPr>
          <p:cNvSpPr txBox="1">
            <a:spLocks/>
          </p:cNvSpPr>
          <p:nvPr/>
        </p:nvSpPr>
        <p:spPr>
          <a:xfrm>
            <a:off x="6407676" y="852759"/>
            <a:ext cx="5560738" cy="92092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3"/>
              </a:buClr>
              <a:buSzPct val="125000"/>
              <a:buFont typeface="Arial" panose="020B0604020202020204" pitchFamily="34" charset="0"/>
              <a:buNone/>
              <a:tabLst/>
              <a:defRPr sz="2400" b="0" i="0" kern="1200" spc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SzPct val="110000"/>
              <a:buFont typeface="Arial" panose="020B0604020202020204" pitchFamily="34" charset="0"/>
              <a:buNone/>
              <a:tabLst/>
              <a:defRPr sz="2400" b="0" i="0" kern="1200" spc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19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Font typeface="Arial" panose="020B0503030202060203" pitchFamily="34" charset="0"/>
              <a:buChar char="–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2925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85000"/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14375" indent="-17145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503030202060203" pitchFamily="34" charset="0"/>
              <a:buChar char="–"/>
              <a:defRPr sz="2400" b="0" i="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7013" indent="-227013">
              <a:lnSpc>
                <a:spcPct val="100000"/>
              </a:lnSpc>
              <a:spcAft>
                <a:spcPts val="1500"/>
              </a:spcAft>
              <a:buSzPct val="120000"/>
              <a:buFont typeface="Arial" panose="020B0604020202020204" pitchFamily="34" charset="0"/>
              <a:buChar char="•"/>
            </a:pPr>
            <a:r>
              <a:rPr lang="en-US" dirty="0"/>
              <a:t>71.47% of the developers used Svelte loved it</a:t>
            </a:r>
          </a:p>
        </p:txBody>
      </p:sp>
    </p:spTree>
    <p:extLst>
      <p:ext uri="{BB962C8B-B14F-4D97-AF65-F5344CB8AC3E}">
        <p14:creationId xmlns:p14="http://schemas.microsoft.com/office/powerpoint/2010/main" val="20120306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FEE2E028-4581-42B5-9C9F-E8F6429A8C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21"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6" name="Object 5">
                        <a:extLst>
                          <a:ext uri="{FF2B5EF4-FFF2-40B4-BE49-F238E27FC236}">
                            <a16:creationId xmlns:a16="http://schemas.microsoft.com/office/drawing/2014/main" id="{FEE2E028-4581-42B5-9C9F-E8F6429A8C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B877D24-81EC-4F07-AB9A-FE9AC805413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B3C3E8-E3FC-064D-A357-3AC35CDD0F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733" y="53755"/>
            <a:ext cx="3850255" cy="841977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tate of JS 2021</a:t>
            </a:r>
            <a:b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endParaRPr lang="en-BG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4" name="Picture Placeholder 23">
            <a:extLst>
              <a:ext uri="{FF2B5EF4-FFF2-40B4-BE49-F238E27FC236}">
                <a16:creationId xmlns:a16="http://schemas.microsoft.com/office/drawing/2014/main" id="{D23B140A-AABC-4A43-AF66-A553E18DB55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25" b="1225"/>
          <a:stretch/>
        </p:blipFill>
        <p:spPr>
          <a:xfrm>
            <a:off x="360000" y="1800000"/>
            <a:ext cx="7200000" cy="3954840"/>
          </a:xfrm>
          <a:prstGeom prst="roundRect">
            <a:avLst>
              <a:gd name="adj" fmla="val 3322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2BD2BED5-7B7D-4E0B-818F-85E61DE45B3D}"/>
              </a:ext>
            </a:extLst>
          </p:cNvPr>
          <p:cNvSpPr txBox="1"/>
          <p:nvPr/>
        </p:nvSpPr>
        <p:spPr>
          <a:xfrm>
            <a:off x="4661233" y="6498291"/>
            <a:ext cx="7005961" cy="35970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r>
              <a:rPr lang="en-US" dirty="0">
                <a:hlinkClick r:id="rId7"/>
              </a:rPr>
              <a:t>https://2020.stateofjs.com/en-US/technologies/front-end-frameworks/</a:t>
            </a:r>
            <a:endParaRPr lang="bg-BG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C947D92-2D6D-472D-9573-856544BD640F}"/>
              </a:ext>
            </a:extLst>
          </p:cNvPr>
          <p:cNvSpPr txBox="1">
            <a:spLocks/>
          </p:cNvSpPr>
          <p:nvPr/>
        </p:nvSpPr>
        <p:spPr>
          <a:xfrm>
            <a:off x="6497054" y="613194"/>
            <a:ext cx="5560738" cy="92092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3"/>
              </a:buClr>
              <a:buSzPct val="125000"/>
              <a:buFont typeface="Arial" panose="020B0604020202020204" pitchFamily="34" charset="0"/>
              <a:buNone/>
              <a:tabLst/>
              <a:defRPr sz="2400" b="0" i="0" kern="1200" spc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SzPct val="110000"/>
              <a:buFont typeface="Arial" panose="020B0604020202020204" pitchFamily="34" charset="0"/>
              <a:buNone/>
              <a:tabLst/>
              <a:defRPr sz="2400" b="0" i="0" kern="1200" spc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19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Font typeface="Arial" panose="020B0503030202060203" pitchFamily="34" charset="0"/>
              <a:buChar char="–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2925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85000"/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14375" indent="-17145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503030202060203" pitchFamily="34" charset="0"/>
              <a:buChar char="–"/>
              <a:defRPr sz="2400" b="0" i="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7013" indent="-227013">
              <a:lnSpc>
                <a:spcPct val="100000"/>
              </a:lnSpc>
              <a:spcAft>
                <a:spcPts val="1500"/>
              </a:spcAft>
              <a:buSzPct val="120000"/>
              <a:buFont typeface="Arial" panose="020B0604020202020204" pitchFamily="34" charset="0"/>
              <a:buChar char="•"/>
            </a:pPr>
            <a:r>
              <a:rPr lang="en-US" dirty="0"/>
              <a:t>Usage is raised from 8% in 2019 </a:t>
            </a:r>
            <a:br>
              <a:rPr lang="en-US" dirty="0"/>
            </a:br>
            <a:r>
              <a:rPr lang="en-US" dirty="0"/>
              <a:t>to 20% in 2021.</a:t>
            </a:r>
            <a:endParaRPr lang="en-BG" dirty="0"/>
          </a:p>
        </p:txBody>
      </p:sp>
    </p:spTree>
    <p:extLst>
      <p:ext uri="{BB962C8B-B14F-4D97-AF65-F5344CB8AC3E}">
        <p14:creationId xmlns:p14="http://schemas.microsoft.com/office/powerpoint/2010/main" val="17534566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FEE2E028-4581-42B5-9C9F-E8F6429A8C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45"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6" name="Object 5">
                        <a:extLst>
                          <a:ext uri="{FF2B5EF4-FFF2-40B4-BE49-F238E27FC236}">
                            <a16:creationId xmlns:a16="http://schemas.microsoft.com/office/drawing/2014/main" id="{FEE2E028-4581-42B5-9C9F-E8F6429A8C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B877D24-81EC-4F07-AB9A-FE9AC805413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pic>
        <p:nvPicPr>
          <p:cNvPr id="7" name="Picture Placeholder 23">
            <a:extLst>
              <a:ext uri="{FF2B5EF4-FFF2-40B4-BE49-F238E27FC236}">
                <a16:creationId xmlns:a16="http://schemas.microsoft.com/office/drawing/2014/main" id="{088C9638-8504-428E-B63B-964CF955B24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360000" y="1800000"/>
            <a:ext cx="7200000" cy="3954840"/>
          </a:xfrm>
          <a:prstGeom prst="roundRect">
            <a:avLst>
              <a:gd name="adj" fmla="val 3636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BB3C3E8-E3FC-064D-A357-3AC35CDD0F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733" y="53755"/>
            <a:ext cx="3850255" cy="841977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tate of JS 2021</a:t>
            </a:r>
            <a:b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endParaRPr lang="en-BG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BD2BED5-7B7D-4E0B-818F-85E61DE45B3D}"/>
              </a:ext>
            </a:extLst>
          </p:cNvPr>
          <p:cNvSpPr txBox="1"/>
          <p:nvPr/>
        </p:nvSpPr>
        <p:spPr>
          <a:xfrm>
            <a:off x="4661233" y="6498291"/>
            <a:ext cx="7005961" cy="35970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r>
              <a:rPr lang="en-US" dirty="0">
                <a:hlinkClick r:id="rId7"/>
              </a:rPr>
              <a:t>https://2020.stateofjs.com/en-US/technologies/front-end-frameworks/</a:t>
            </a:r>
            <a:endParaRPr lang="bg-BG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C947D92-2D6D-472D-9573-856544BD640F}"/>
              </a:ext>
            </a:extLst>
          </p:cNvPr>
          <p:cNvSpPr txBox="1">
            <a:spLocks/>
          </p:cNvSpPr>
          <p:nvPr/>
        </p:nvSpPr>
        <p:spPr>
          <a:xfrm>
            <a:off x="6469553" y="584746"/>
            <a:ext cx="5560738" cy="2742845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3"/>
              </a:buClr>
              <a:buSzPct val="125000"/>
              <a:buFont typeface="Arial" panose="020B0604020202020204" pitchFamily="34" charset="0"/>
              <a:buNone/>
              <a:tabLst/>
              <a:defRPr sz="2400" b="0" i="0" kern="1200" spc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SzPct val="110000"/>
              <a:buFont typeface="Arial" panose="020B0604020202020204" pitchFamily="34" charset="0"/>
              <a:buNone/>
              <a:tabLst/>
              <a:defRPr sz="2400" b="0" i="0" kern="1200" spc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19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Font typeface="Arial" panose="020B0503030202060203" pitchFamily="34" charset="0"/>
              <a:buChar char="–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2925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85000"/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14375" indent="-17145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503030202060203" pitchFamily="34" charset="0"/>
              <a:buChar char="–"/>
              <a:defRPr sz="2400" b="0" i="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7013" indent="-227013">
              <a:lnSpc>
                <a:spcPct val="100000"/>
              </a:lnSpc>
              <a:spcAft>
                <a:spcPts val="1500"/>
              </a:spcAft>
              <a:buSzPct val="120000"/>
              <a:buFont typeface="Arial" panose="020B0604020202020204" pitchFamily="34" charset="0"/>
              <a:buChar char="•"/>
            </a:pPr>
            <a:r>
              <a:rPr lang="en-US" dirty="0"/>
              <a:t>Top results in Interest since 2019 – more than 60%.</a:t>
            </a:r>
          </a:p>
        </p:txBody>
      </p:sp>
    </p:spTree>
    <p:extLst>
      <p:ext uri="{BB962C8B-B14F-4D97-AF65-F5344CB8AC3E}">
        <p14:creationId xmlns:p14="http://schemas.microsoft.com/office/powerpoint/2010/main" val="10674616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FEE2E028-4581-42B5-9C9F-E8F6429A8C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69"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6" name="Object 5">
                        <a:extLst>
                          <a:ext uri="{FF2B5EF4-FFF2-40B4-BE49-F238E27FC236}">
                            <a16:creationId xmlns:a16="http://schemas.microsoft.com/office/drawing/2014/main" id="{FEE2E028-4581-42B5-9C9F-E8F6429A8C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B877D24-81EC-4F07-AB9A-FE9AC805413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205864" y="5331"/>
            <a:ext cx="10984548" cy="6858000"/>
          </a:xfrm>
        </p:spPr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B3C3E8-E3FC-064D-A357-3AC35CDD0F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733" y="53755"/>
            <a:ext cx="3850255" cy="841977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tate of JS 2021</a:t>
            </a:r>
            <a:b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endParaRPr lang="en-BG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BD2BED5-7B7D-4E0B-818F-85E61DE45B3D}"/>
              </a:ext>
            </a:extLst>
          </p:cNvPr>
          <p:cNvSpPr txBox="1"/>
          <p:nvPr/>
        </p:nvSpPr>
        <p:spPr>
          <a:xfrm>
            <a:off x="4661233" y="6498291"/>
            <a:ext cx="7005961" cy="35970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r>
              <a:rPr lang="en-US" dirty="0">
                <a:hlinkClick r:id="rId6"/>
              </a:rPr>
              <a:t>https://2020.stateofjs.com/en-US/technologies/front-end-frameworks/</a:t>
            </a:r>
            <a:endParaRPr lang="bg-BG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C947D92-2D6D-472D-9573-856544BD640F}"/>
              </a:ext>
            </a:extLst>
          </p:cNvPr>
          <p:cNvSpPr txBox="1">
            <a:spLocks/>
          </p:cNvSpPr>
          <p:nvPr/>
        </p:nvSpPr>
        <p:spPr>
          <a:xfrm>
            <a:off x="6469553" y="598497"/>
            <a:ext cx="5560738" cy="84197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3"/>
              </a:buClr>
              <a:buSzPct val="125000"/>
              <a:buFont typeface="Arial" panose="020B0604020202020204" pitchFamily="34" charset="0"/>
              <a:buNone/>
              <a:tabLst/>
              <a:defRPr sz="2400" b="0" i="0" kern="1200" spc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SzPct val="110000"/>
              <a:buFont typeface="Arial" panose="020B0604020202020204" pitchFamily="34" charset="0"/>
              <a:buNone/>
              <a:tabLst/>
              <a:defRPr sz="2400" b="0" i="0" kern="1200" spc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19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Font typeface="Arial" panose="020B0503030202060203" pitchFamily="34" charset="0"/>
              <a:buChar char="–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2925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85000"/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14375" indent="-17145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503030202060203" pitchFamily="34" charset="0"/>
              <a:buChar char="–"/>
              <a:defRPr sz="2400" b="0" i="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7013" indent="-227013">
              <a:lnSpc>
                <a:spcPct val="100000"/>
              </a:lnSpc>
              <a:spcAft>
                <a:spcPts val="1500"/>
              </a:spcAft>
              <a:buSzPct val="120000"/>
              <a:buFont typeface="Arial" panose="020B0604020202020204" pitchFamily="34" charset="0"/>
              <a:buChar char="•"/>
            </a:pPr>
            <a:r>
              <a:rPr lang="en-US" dirty="0"/>
              <a:t>Awareness is raised from 75% in 2019 to 94% in 2021.</a:t>
            </a:r>
            <a:endParaRPr lang="en-BG" dirty="0"/>
          </a:p>
        </p:txBody>
      </p:sp>
      <p:pic>
        <p:nvPicPr>
          <p:cNvPr id="18" name="Picture Placeholder 23">
            <a:extLst>
              <a:ext uri="{FF2B5EF4-FFF2-40B4-BE49-F238E27FC236}">
                <a16:creationId xmlns:a16="http://schemas.microsoft.com/office/drawing/2014/main" id="{01962ED6-E9FC-423A-8877-CDF352F92CC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38" b="1638"/>
          <a:stretch/>
        </p:blipFill>
        <p:spPr>
          <a:xfrm>
            <a:off x="360000" y="1800000"/>
            <a:ext cx="7200000" cy="3954840"/>
          </a:xfrm>
          <a:prstGeom prst="roundRect">
            <a:avLst>
              <a:gd name="adj" fmla="val 3553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38953543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675E108-F79D-9242-83EA-C363257784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91251" y="1842033"/>
            <a:ext cx="5278437" cy="3843747"/>
          </a:xfrm>
        </p:spPr>
        <p:txBody>
          <a:bodyPr/>
          <a:lstStyle/>
          <a:p>
            <a:pPr marL="227013" indent="-227013">
              <a:lnSpc>
                <a:spcPct val="100000"/>
              </a:lnSpc>
              <a:spcAft>
                <a:spcPts val="1500"/>
              </a:spcAft>
              <a:buClr>
                <a:schemeClr val="accent3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b="1" dirty="0"/>
              <a:t>Created 5+ UI Svelte components: </a:t>
            </a:r>
            <a:br>
              <a:rPr lang="en-BG" dirty="0"/>
            </a:br>
            <a:r>
              <a:rPr lang="en-US" dirty="0"/>
              <a:t>Grid, Pager, Calendar, Popup, </a:t>
            </a:r>
            <a:r>
              <a:rPr lang="en-US" dirty="0" err="1"/>
              <a:t>TextBox</a:t>
            </a:r>
            <a:r>
              <a:rPr lang="en-US" dirty="0"/>
              <a:t>, Button, Loader …</a:t>
            </a:r>
            <a:endParaRPr lang="en-BG" dirty="0"/>
          </a:p>
          <a:p>
            <a:pPr marL="227013" indent="-227013">
              <a:lnSpc>
                <a:spcPct val="100000"/>
              </a:lnSpc>
              <a:spcAft>
                <a:spcPts val="1500"/>
              </a:spcAft>
              <a:buClr>
                <a:schemeClr val="accent3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b="1" dirty="0"/>
              <a:t>Created Sample App</a:t>
            </a:r>
            <a:br>
              <a:rPr lang="en-BG" b="1" dirty="0"/>
            </a:br>
            <a:r>
              <a:rPr lang="en-US" dirty="0"/>
              <a:t>Sample app integrating the UI components created – GitHub Issues Grid.</a:t>
            </a:r>
            <a:endParaRPr lang="en-BG" dirty="0"/>
          </a:p>
          <a:p>
            <a:pPr marL="227013" indent="-227013">
              <a:lnSpc>
                <a:spcPct val="100000"/>
              </a:lnSpc>
              <a:spcAft>
                <a:spcPts val="1500"/>
              </a:spcAft>
              <a:buClr>
                <a:schemeClr val="accent3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b="1" dirty="0"/>
              <a:t>POC - Svelte can be our next UI library</a:t>
            </a:r>
            <a:endParaRPr lang="en-BG" b="1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5ED3E0-D512-5242-8779-5F5BBA97EB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91251" y="538162"/>
            <a:ext cx="5062164" cy="1117523"/>
          </a:xfrm>
        </p:spPr>
        <p:txBody>
          <a:bodyPr/>
          <a:lstStyle/>
          <a:p>
            <a:r>
              <a:rPr lang="en-US" dirty="0"/>
              <a:t>What we Achieved</a:t>
            </a:r>
            <a:endParaRPr lang="en-BG" dirty="0"/>
          </a:p>
        </p:txBody>
      </p:sp>
    </p:spTree>
    <p:extLst>
      <p:ext uri="{BB962C8B-B14F-4D97-AF65-F5344CB8AC3E}">
        <p14:creationId xmlns:p14="http://schemas.microsoft.com/office/powerpoint/2010/main" val="399871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Progress 2">
      <a:dk1>
        <a:srgbClr val="000000"/>
      </a:dk1>
      <a:lt1>
        <a:srgbClr val="FFFFFF"/>
      </a:lt1>
      <a:dk2>
        <a:srgbClr val="0052DB"/>
      </a:dk2>
      <a:lt2>
        <a:srgbClr val="F3FAFF"/>
      </a:lt2>
      <a:accent1>
        <a:srgbClr val="008963"/>
      </a:accent1>
      <a:accent2>
        <a:srgbClr val="FFD000"/>
      </a:accent2>
      <a:accent3>
        <a:srgbClr val="2889FC"/>
      </a:accent3>
      <a:accent4>
        <a:srgbClr val="00B563"/>
      </a:accent4>
      <a:accent5>
        <a:srgbClr val="A7E9FF"/>
      </a:accent5>
      <a:accent6>
        <a:srgbClr val="D5F6FF"/>
      </a:accent6>
      <a:hlink>
        <a:srgbClr val="0069E8"/>
      </a:hlink>
      <a:folHlink>
        <a:srgbClr val="76C1FF"/>
      </a:folHlink>
    </a:clrScheme>
    <a:fontScheme name="Custom 6">
      <a:majorFont>
        <a:latin typeface="Arial Bold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0"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square" lIns="0" tIns="0" rIns="0" bIns="0" rtlCol="0">
        <a:noAutofit/>
      </a:bodyPr>
      <a:lstStyle>
        <a:defPPr algn="l">
          <a:lnSpc>
            <a:spcPts val="2700"/>
          </a:lnSpc>
          <a:defRPr sz="2400" dirty="0" smtClean="0"/>
        </a:defPPr>
      </a:lstStyle>
    </a:txDef>
  </a:objectDefaults>
  <a:extraClrSchemeLst/>
  <a:custClrLst>
    <a:custClr name="Light Green S1">
      <a:srgbClr val="4FB850"/>
    </a:custClr>
    <a:custClr name="Yellow S1">
      <a:srgbClr val="FBCE0A"/>
    </a:custClr>
    <a:custClr name="Yellow S2">
      <a:srgbClr val="FAE400"/>
    </a:custClr>
    <a:custClr name="Red S2">
      <a:srgbClr val="F1627A"/>
    </a:custClr>
    <a:custClr name="Light Blue S1">
      <a:srgbClr val="00BCED"/>
    </a:custClr>
    <a:custClr name="Blue Line">
      <a:srgbClr val="0053A5"/>
    </a:custClr>
    <a:custClr name="TEAL S3">
      <a:srgbClr val="0AA39F"/>
    </a:custClr>
    <a:custClr name="Purple S1">
      <a:srgbClr val="311B97"/>
    </a:custClr>
    <a:custClr name="Purple S2">
      <a:srgbClr val="5122B9"/>
    </a:custClr>
    <a:custClr name="Light Gray S2">
      <a:srgbClr val="DDE9F7"/>
    </a:custClr>
  </a:custClrLst>
  <a:extLst>
    <a:ext uri="{05A4C25C-085E-4340-85A3-A5531E510DB2}">
      <thm15:themeFamily xmlns:thm15="http://schemas.microsoft.com/office/thememl/2012/main" name="04.pptx" id="{707CA60A-C134-47AC-9B43-5B55FA33C39D}" vid="{5C56B1C5-80A3-40E9-BB72-6688D780353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F27FAE51E038C41BAD01F89945E9328" ma:contentTypeVersion="14" ma:contentTypeDescription="Create a new document." ma:contentTypeScope="" ma:versionID="71f1f0b237f3257a8ed4291040239617">
  <xsd:schema xmlns:xsd="http://www.w3.org/2001/XMLSchema" xmlns:xs="http://www.w3.org/2001/XMLSchema" xmlns:p="http://schemas.microsoft.com/office/2006/metadata/properties" xmlns:ns2="5712601c-4137-4c53-ac8c-2395ac8d0b4e" xmlns:ns3="77bfaf30-28d1-46cd-bb4b-b6e7f7a97e42" targetNamespace="http://schemas.microsoft.com/office/2006/metadata/properties" ma:root="true" ma:fieldsID="cb9f794b11a55547e83222b3dc14242d" ns2:_="" ns3:_="">
    <xsd:import namespace="5712601c-4137-4c53-ac8c-2395ac8d0b4e"/>
    <xsd:import namespace="77bfaf30-28d1-46cd-bb4b-b6e7f7a97e4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ebco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712601c-4137-4c53-ac8c-2395ac8d0b4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ebco" ma:index="19" nillable="true" ma:displayName="Text" ma:internalName="ebco">
      <xsd:simpleType>
        <xsd:restriction base="dms:Text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7bfaf30-28d1-46cd-bb4b-b6e7f7a97e42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ebco xmlns="5712601c-4137-4c53-ac8c-2395ac8d0b4e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B8DFEA4-9AD3-493E-8F99-15853A77B99B}">
  <ds:schemaRefs>
    <ds:schemaRef ds:uri="5712601c-4137-4c53-ac8c-2395ac8d0b4e"/>
    <ds:schemaRef ds:uri="77bfaf30-28d1-46cd-bb4b-b6e7f7a97e4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F4536264-23F3-4CB2-BFAA-0CE0A9ABAB1F}">
  <ds:schemaRefs>
    <ds:schemaRef ds:uri="http://schemas.microsoft.com/office/2006/documentManagement/types"/>
    <ds:schemaRef ds:uri="5712601c-4137-4c53-ac8c-2395ac8d0b4e"/>
    <ds:schemaRef ds:uri="http://purl.org/dc/elements/1.1/"/>
    <ds:schemaRef ds:uri="http://schemas.openxmlformats.org/package/2006/metadata/core-properties"/>
    <ds:schemaRef ds:uri="http://purl.org/dc/dcmitype/"/>
    <ds:schemaRef ds:uri="77bfaf30-28d1-46cd-bb4b-b6e7f7a97e42"/>
    <ds:schemaRef ds:uri="http://schemas.microsoft.com/office/infopath/2007/PartnerControls"/>
    <ds:schemaRef ds:uri="http://schemas.microsoft.com/office/2006/metadata/properties"/>
    <ds:schemaRef ds:uri="http://www.w3.org/XML/1998/namespace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21B12EA7-4E08-4F6C-8677-98534648886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04</Template>
  <TotalTime>19689</TotalTime>
  <Words>455</Words>
  <Application>Microsoft Office PowerPoint</Application>
  <PresentationFormat>Widescreen</PresentationFormat>
  <Paragraphs>49</Paragraphs>
  <Slides>1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5" baseType="lpstr">
      <vt:lpstr>Arial</vt:lpstr>
      <vt:lpstr>Overpass</vt:lpstr>
      <vt:lpstr>Office Theme</vt:lpstr>
      <vt:lpstr>think-cell Slide</vt:lpstr>
      <vt:lpstr>Kendo UI for</vt:lpstr>
      <vt:lpstr>What is Svelte?</vt:lpstr>
      <vt:lpstr>PowerPoint Presentation</vt:lpstr>
      <vt:lpstr>How Svelte stands out</vt:lpstr>
      <vt:lpstr>Stack Overflow </vt:lpstr>
      <vt:lpstr>State of JS 2021 </vt:lpstr>
      <vt:lpstr>State of JS 2021 </vt:lpstr>
      <vt:lpstr>State of JS 2021 </vt:lpstr>
      <vt:lpstr>What we Achieved</vt:lpstr>
      <vt:lpstr>Svelte can be  our Next UI Library</vt:lpstr>
      <vt:lpstr>Check what we’ve buil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te Sosic</dc:creator>
  <cp:lastModifiedBy>Yanko Dzhemerenov</cp:lastModifiedBy>
  <cp:revision>904</cp:revision>
  <dcterms:created xsi:type="dcterms:W3CDTF">2021-10-09T10:38:18Z</dcterms:created>
  <dcterms:modified xsi:type="dcterms:W3CDTF">2022-03-11T13:13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27FAE51E038C41BAD01F89945E9328</vt:lpwstr>
  </property>
</Properties>
</file>